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notesSlides/notesSlide13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notesSlides/notesSlide15.xml" ContentType="application/vnd.openxmlformats-officedocument.presentationml.notesSlide+xml"/>
  <Override PartName="/ppt/charts/chart19.xml" ContentType="application/vnd.openxmlformats-officedocument.drawingml.chart+xml"/>
  <Override PartName="/ppt/notesSlides/notesSlide16.xml" ContentType="application/vnd.openxmlformats-officedocument.presentationml.notesSlide+xml"/>
  <Override PartName="/ppt/charts/chart20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notesSlides/notesSlide19.xml" ContentType="application/vnd.openxmlformats-officedocument.presentationml.notesSlide+xml"/>
  <Override PartName="/ppt/charts/chart27.xml" ContentType="application/vnd.openxmlformats-officedocument.drawingml.chart+xml"/>
  <Override PartName="/ppt/notesSlides/notesSlide20.xml" ContentType="application/vnd.openxmlformats-officedocument.presentationml.notesSlide+xml"/>
  <Override PartName="/ppt/charts/chart28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29.xml" ContentType="application/vnd.openxmlformats-officedocument.drawingml.chart+xml"/>
  <Override PartName="/ppt/notesSlides/notesSlide23.xml" ContentType="application/vnd.openxmlformats-officedocument.presentationml.notesSlide+xml"/>
  <Override PartName="/ppt/charts/chart30.xml" ContentType="application/vnd.openxmlformats-officedocument.drawingml.chart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20" r:id="rId2"/>
    <p:sldMasterId id="2147483897" r:id="rId3"/>
  </p:sldMasterIdLst>
  <p:notesMasterIdLst>
    <p:notesMasterId r:id="rId40"/>
  </p:notesMasterIdLst>
  <p:handoutMasterIdLst>
    <p:handoutMasterId r:id="rId41"/>
  </p:handoutMasterIdLst>
  <p:sldIdLst>
    <p:sldId id="1103" r:id="rId4"/>
    <p:sldId id="1129" r:id="rId5"/>
    <p:sldId id="1201" r:id="rId6"/>
    <p:sldId id="562" r:id="rId7"/>
    <p:sldId id="2144445868" r:id="rId8"/>
    <p:sldId id="1244" r:id="rId9"/>
    <p:sldId id="1282" r:id="rId10"/>
    <p:sldId id="1185" r:id="rId11"/>
    <p:sldId id="1259" r:id="rId12"/>
    <p:sldId id="1279" r:id="rId13"/>
    <p:sldId id="1260" r:id="rId14"/>
    <p:sldId id="1261" r:id="rId15"/>
    <p:sldId id="1262" r:id="rId16"/>
    <p:sldId id="1263" r:id="rId17"/>
    <p:sldId id="1264" r:id="rId18"/>
    <p:sldId id="1278" r:id="rId19"/>
    <p:sldId id="1265" r:id="rId20"/>
    <p:sldId id="1266" r:id="rId21"/>
    <p:sldId id="1267" r:id="rId22"/>
    <p:sldId id="1277" r:id="rId23"/>
    <p:sldId id="1268" r:id="rId24"/>
    <p:sldId id="1269" r:id="rId25"/>
    <p:sldId id="1270" r:id="rId26"/>
    <p:sldId id="1280" r:id="rId27"/>
    <p:sldId id="1271" r:id="rId28"/>
    <p:sldId id="1272" r:id="rId29"/>
    <p:sldId id="1273" r:id="rId30"/>
    <p:sldId id="1281" r:id="rId31"/>
    <p:sldId id="1274" r:id="rId32"/>
    <p:sldId id="1275" r:id="rId33"/>
    <p:sldId id="1202" r:id="rId34"/>
    <p:sldId id="2144445867" r:id="rId35"/>
    <p:sldId id="2144445869" r:id="rId36"/>
    <p:sldId id="2144445870" r:id="rId37"/>
    <p:sldId id="2144445871" r:id="rId38"/>
    <p:sldId id="2144445872" r:id="rId39"/>
  </p:sldIdLst>
  <p:sldSz cx="12192000" cy="6858000"/>
  <p:notesSz cx="9144000" cy="6858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02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275" userDrawn="1">
          <p15:clr>
            <a:srgbClr val="A4A3A4"/>
          </p15:clr>
        </p15:guide>
        <p15:guide id="4" orient="horz" pos="13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7722"/>
    <a:srgbClr val="281051"/>
    <a:srgbClr val="A6A6A6"/>
    <a:srgbClr val="7F7F7F"/>
    <a:srgbClr val="405A9C"/>
    <a:srgbClr val="C00000"/>
    <a:srgbClr val="003399"/>
    <a:srgbClr val="BFBFBF"/>
    <a:srgbClr val="FFFFFF"/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899" autoAdjust="0"/>
    <p:restoredTop sz="92121" autoAdjust="0"/>
  </p:normalViewPr>
  <p:slideViewPr>
    <p:cSldViewPr snapToGrid="0">
      <p:cViewPr varScale="1">
        <p:scale>
          <a:sx n="91" d="100"/>
          <a:sy n="91" d="100"/>
        </p:scale>
        <p:origin x="496" y="64"/>
      </p:cViewPr>
      <p:guideLst>
        <p:guide orient="horz" pos="1502"/>
        <p:guide pos="3840"/>
        <p:guide orient="horz" pos="1275"/>
        <p:guide orient="horz" pos="13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244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0" Type="http://schemas.openxmlformats.org/officeDocument/2006/relationships/slide" Target="slides/slide17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12-4D51-869F-3987B8AD2882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912-4D51-869F-3987B8AD288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9"/>
                <c:pt idx="0">
                  <c:v>Udržitelnost</c:v>
                </c:pt>
                <c:pt idx="1">
                  <c:v>Vliv firem na firemní prostředí</c:v>
                </c:pt>
                <c:pt idx="2">
                  <c:v>Společenská odpvoědnost firem</c:v>
                </c:pt>
                <c:pt idx="3">
                  <c:v>Energie a jejich úspora</c:v>
                </c:pt>
                <c:pt idx="4">
                  <c:v>Odpovědnost ifrem</c:v>
                </c:pt>
                <c:pt idx="5">
                  <c:v>Environmental, social, governance</c:v>
                </c:pt>
                <c:pt idx="6">
                  <c:v>Odpovědnost v sociální oblasti</c:v>
                </c:pt>
                <c:pt idx="7">
                  <c:v>Něco jiného</c:v>
                </c:pt>
                <c:pt idx="8">
                  <c:v>Nevím</c:v>
                </c:pt>
              </c:strCache>
              <c:extLst/>
            </c:strRef>
          </c:cat>
          <c:val>
            <c:numRef>
              <c:f>Sheet1!$B$2:$B$12</c:f>
              <c:numCache>
                <c:formatCode>General</c:formatCode>
                <c:ptCount val="9"/>
                <c:pt idx="0">
                  <c:v>10</c:v>
                </c:pt>
                <c:pt idx="1">
                  <c:v>10</c:v>
                </c:pt>
                <c:pt idx="2">
                  <c:v>5</c:v>
                </c:pt>
                <c:pt idx="3">
                  <c:v>4</c:v>
                </c:pt>
                <c:pt idx="4">
                  <c:v>3</c:v>
                </c:pt>
                <c:pt idx="5">
                  <c:v>2</c:v>
                </c:pt>
                <c:pt idx="6">
                  <c:v>2</c:v>
                </c:pt>
                <c:pt idx="7">
                  <c:v>10</c:v>
                </c:pt>
                <c:pt idx="8">
                  <c:v>6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0-664B-4874-99B3-C9002FCFFED9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8CB-4C80-ACE7-6934256B638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38100">
                <a:noFill/>
              </a:ln>
            </c:spPr>
            <c:extLst>
              <c:ext xmlns:c16="http://schemas.microsoft.com/office/drawing/2014/chart" uri="{C3380CC4-5D6E-409C-BE32-E72D297353CC}">
                <c16:uniqueId val="{00000001-CFBD-4A7C-A273-4420CB11699E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C20-447A-84CD-C7A682AB315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2</c:v>
                </c:pt>
                <c:pt idx="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C5A3-4725-9985-B558DF5BB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6</c:v>
                </c:pt>
                <c:pt idx="1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1-4584-4B59-B35A-617BB6499AA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</c:v>
                </c:pt>
                <c:pt idx="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B41A-47C1-8997-A321FAF48E3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8A0-4BB6-AE7F-2FE70E5166A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0"/>
                <c:pt idx="0">
                  <c:v>Sledování, snižování spotřeby energií</c:v>
                </c:pt>
                <c:pt idx="1">
                  <c:v>Ekologické</c:v>
                </c:pt>
                <c:pt idx="2">
                  <c:v>Recyklace</c:v>
                </c:pt>
                <c:pt idx="3">
                  <c:v>IT, IT technologie, počítače</c:v>
                </c:pt>
                <c:pt idx="4">
                  <c:v>Solární panely</c:v>
                </c:pt>
                <c:pt idx="5">
                  <c:v>Technologie obecně</c:v>
                </c:pt>
                <c:pt idx="6">
                  <c:v>Úspory, hlídání nákladů</c:v>
                </c:pt>
                <c:pt idx="7">
                  <c:v>Software</c:v>
                </c:pt>
                <c:pt idx="8">
                  <c:v>Něco jiného</c:v>
                </c:pt>
                <c:pt idx="9">
                  <c:v>Nevím (L5)</c:v>
                </c:pt>
              </c:strCache>
              <c:extLst/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10.667</c:v>
                </c:pt>
                <c:pt idx="1">
                  <c:v>10.667</c:v>
                </c:pt>
                <c:pt idx="2">
                  <c:v>8</c:v>
                </c:pt>
                <c:pt idx="3">
                  <c:v>8</c:v>
                </c:pt>
                <c:pt idx="4">
                  <c:v>4</c:v>
                </c:pt>
                <c:pt idx="5">
                  <c:v>4</c:v>
                </c:pt>
                <c:pt idx="6">
                  <c:v>2.6669999999999998</c:v>
                </c:pt>
                <c:pt idx="7">
                  <c:v>1.333</c:v>
                </c:pt>
                <c:pt idx="8">
                  <c:v>42.667000000000002</c:v>
                </c:pt>
                <c:pt idx="9">
                  <c:v>2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25-4E6B-9C1D-FB3A0DF6AB92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3</c:f>
              <c:numCache>
                <c:formatCode>General</c:formatCode>
                <c:ptCount val="1"/>
                <c:pt idx="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25-4E6B-9C1D-FB3A0DF6AB92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tx2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4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25-4E6B-9C1D-FB3A0DF6AB92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accent4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5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925-4E6B-9C1D-FB3A0DF6AB92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6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25-4E6B-9C1D-FB3A0DF6AB92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925-4E6B-9C1D-FB3A0DF6AB9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</c:f>
              <c:numCache>
                <c:formatCode>General</c:formatCode>
                <c:ptCount val="1"/>
              </c:numCache>
            </c:numRef>
          </c:cat>
          <c:val>
            <c:numRef>
              <c:f>Sheet1!$B$7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1925-4E6B-9C1D-FB3A0DF6AB9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A7DC-43D2-98D4-748991FF18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2</c:v>
                </c:pt>
                <c:pt idx="1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DC-43D2-98D4-748991FF18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EEB-4CA4-B2A0-03EA0C87107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Nejasná návratnost investice</c:v>
                </c:pt>
                <c:pt idx="1">
                  <c:v>Nedostatek financí</c:v>
                </c:pt>
                <c:pt idx="2">
                  <c:v>Nedostatek informací</c:v>
                </c:pt>
                <c:pt idx="3">
                  <c:v>Vysoká administrativa</c:v>
                </c:pt>
                <c:pt idx="4">
                  <c:v>Nedostatek interního know-how</c:v>
                </c:pt>
                <c:pt idx="5">
                  <c:v>Nezájem obchodních partnerů</c:v>
                </c:pt>
                <c:pt idx="6">
                  <c:v>Obavy ze zhoršení zákaznické situace</c:v>
                </c:pt>
                <c:pt idx="7">
                  <c:v>Nedostupnost potřebných řešení či technologií</c:v>
                </c:pt>
                <c:pt idx="8">
                  <c:v>Nedostatek nápadů v této oblasti</c:v>
                </c:pt>
                <c:pt idx="9">
                  <c:v>Nezájem zákazníků</c:v>
                </c:pt>
                <c:pt idx="10">
                  <c:v>Odpor zaměstnanců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52.156999999999996</c:v>
                </c:pt>
                <c:pt idx="1">
                  <c:v>38.823999999999998</c:v>
                </c:pt>
                <c:pt idx="2">
                  <c:v>37.646999999999998</c:v>
                </c:pt>
                <c:pt idx="3">
                  <c:v>33.332999999999998</c:v>
                </c:pt>
                <c:pt idx="4">
                  <c:v>22.353000000000002</c:v>
                </c:pt>
                <c:pt idx="5">
                  <c:v>20.391999999999999</c:v>
                </c:pt>
                <c:pt idx="6">
                  <c:v>20.391999999999999</c:v>
                </c:pt>
                <c:pt idx="7">
                  <c:v>20</c:v>
                </c:pt>
                <c:pt idx="8">
                  <c:v>18.431000000000001</c:v>
                </c:pt>
                <c:pt idx="9">
                  <c:v>17.646999999999998</c:v>
                </c:pt>
                <c:pt idx="10">
                  <c:v>14.901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G$2</c:f>
              <c:numCache>
                <c:formatCode>0</c:formatCode>
                <c:ptCount val="6"/>
                <c:pt idx="0" formatCode="General">
                  <c:v>4</c:v>
                </c:pt>
                <c:pt idx="1">
                  <c:v>2.7029999999999998</c:v>
                </c:pt>
                <c:pt idx="2">
                  <c:v>5.6070000000000002</c:v>
                </c:pt>
                <c:pt idx="3">
                  <c:v>5.319</c:v>
                </c:pt>
                <c:pt idx="4">
                  <c:v>3.125</c:v>
                </c:pt>
                <c:pt idx="5">
                  <c:v>3.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3:$G$3</c:f>
              <c:numCache>
                <c:formatCode>0</c:formatCode>
                <c:ptCount val="6"/>
                <c:pt idx="0" formatCode="General">
                  <c:v>11</c:v>
                </c:pt>
                <c:pt idx="1">
                  <c:v>11.486000000000001</c:v>
                </c:pt>
                <c:pt idx="2">
                  <c:v>11.215</c:v>
                </c:pt>
                <c:pt idx="3">
                  <c:v>10.638</c:v>
                </c:pt>
                <c:pt idx="4">
                  <c:v>17.187999999999999</c:v>
                </c:pt>
                <c:pt idx="5">
                  <c:v>8.24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4:$G$4</c:f>
              <c:numCache>
                <c:formatCode>0</c:formatCode>
                <c:ptCount val="6"/>
                <c:pt idx="0" formatCode="General">
                  <c:v>37</c:v>
                </c:pt>
                <c:pt idx="1">
                  <c:v>30.405000000000001</c:v>
                </c:pt>
                <c:pt idx="2">
                  <c:v>46.728999999999999</c:v>
                </c:pt>
                <c:pt idx="3">
                  <c:v>38.298000000000002</c:v>
                </c:pt>
                <c:pt idx="4">
                  <c:v>45.313000000000002</c:v>
                </c:pt>
                <c:pt idx="5">
                  <c:v>30.92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spPr>
            <a:solidFill>
              <a:schemeClr val="bg1">
                <a:lumMod val="50000"/>
              </a:schemeClr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AB7-4ABD-B6E5-15AA9649858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B7-4ABD-B6E5-15AA9649858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AB7-4ABD-B6E5-15AA9649858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B$5:$G$5</c:f>
              <c:numCache>
                <c:formatCode>0</c:formatCode>
                <c:ptCount val="6"/>
                <c:pt idx="0" formatCode="General">
                  <c:v>31</c:v>
                </c:pt>
                <c:pt idx="1">
                  <c:v>39.189</c:v>
                </c:pt>
                <c:pt idx="2">
                  <c:v>19.626000000000001</c:v>
                </c:pt>
                <c:pt idx="3">
                  <c:v>25.532</c:v>
                </c:pt>
                <c:pt idx="4">
                  <c:v>20.312999999999999</c:v>
                </c:pt>
                <c:pt idx="5">
                  <c:v>43.29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B$6:$G$6</c:f>
              <c:numCache>
                <c:formatCode>0</c:formatCode>
                <c:ptCount val="6"/>
                <c:pt idx="0" formatCode="General">
                  <c:v>12</c:v>
                </c:pt>
                <c:pt idx="1">
                  <c:v>12.162000000000001</c:v>
                </c:pt>
                <c:pt idx="2">
                  <c:v>11.215</c:v>
                </c:pt>
                <c:pt idx="3">
                  <c:v>17.021000000000001</c:v>
                </c:pt>
                <c:pt idx="4">
                  <c:v>6.25</c:v>
                </c:pt>
                <c:pt idx="5">
                  <c:v>10.30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spPr>
            <a:solidFill>
              <a:srgbClr val="C00000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B$7:$G$7</c:f>
              <c:numCache>
                <c:formatCode>0</c:formatCode>
                <c:ptCount val="6"/>
                <c:pt idx="0" formatCode="General">
                  <c:v>5</c:v>
                </c:pt>
                <c:pt idx="1">
                  <c:v>4.0540000000000003</c:v>
                </c:pt>
                <c:pt idx="2">
                  <c:v>5.6070000000000002</c:v>
                </c:pt>
                <c:pt idx="3">
                  <c:v>3.1909999999999998</c:v>
                </c:pt>
                <c:pt idx="4">
                  <c:v>7.8129999999999997</c:v>
                </c:pt>
                <c:pt idx="5">
                  <c:v>4.123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1-4DE0-8FCD-49E1CAC7151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5"/>
                <c:pt idx="0">
                  <c:v>Ano, v oblasti sociální</c:v>
                </c:pt>
                <c:pt idx="1">
                  <c:v>Ano, v oblasti řízení společnosti</c:v>
                </c:pt>
                <c:pt idx="2">
                  <c:v>Ano, v oblasti enviromentální</c:v>
                </c:pt>
                <c:pt idx="3">
                  <c:v>Zatím v této oblasti nic nepodnikáme, ale monitorujeme situace a připravujeme se na případné kroky</c:v>
                </c:pt>
                <c:pt idx="4">
                  <c:v>Zatím nic a ani to neplánujeme</c:v>
                </c:pt>
              </c:strCache>
              <c:extLst/>
            </c:strRef>
          </c:cat>
          <c:val>
            <c:numRef>
              <c:f>Sheet1!$B$2:$B$12</c:f>
              <c:numCache>
                <c:formatCode>General</c:formatCode>
                <c:ptCount val="5"/>
                <c:pt idx="0">
                  <c:v>61</c:v>
                </c:pt>
                <c:pt idx="1">
                  <c:v>28</c:v>
                </c:pt>
                <c:pt idx="2">
                  <c:v>27</c:v>
                </c:pt>
                <c:pt idx="3">
                  <c:v>8</c:v>
                </c:pt>
                <c:pt idx="4">
                  <c:v>1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1"/>
            <c:invertIfNegative val="0"/>
            <c:bubble3D val="0"/>
            <c:spPr>
              <a:solidFill>
                <a:srgbClr val="7F7F7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8726-4E49-B833-15FF653FF8AE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EEB-4CA4-B2A0-03EA0C87107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Zpomalilo to ESG</c:v>
                </c:pt>
                <c:pt idx="1">
                  <c:v>Méně zakázek</c:v>
                </c:pt>
                <c:pt idx="2">
                  <c:v>Zdražování energií</c:v>
                </c:pt>
                <c:pt idx="3">
                  <c:v>Potřeba šetřit, hlídat výdaje</c:v>
                </c:pt>
                <c:pt idx="4">
                  <c:v>Inflace</c:v>
                </c:pt>
                <c:pt idx="5">
                  <c:v>Celkově negativní vliv</c:v>
                </c:pt>
                <c:pt idx="6">
                  <c:v>Celkově zdražování</c:v>
                </c:pt>
                <c:pt idx="7">
                  <c:v>Méně investic</c:v>
                </c:pt>
                <c:pt idx="8">
                  <c:v>Urychlilo to ESG</c:v>
                </c:pt>
                <c:pt idx="9">
                  <c:v>Něco jiného</c:v>
                </c:pt>
                <c:pt idx="10">
                  <c:v>Neovlivnilo (L5)</c:v>
                </c:pt>
                <c:pt idx="11">
                  <c:v>Nevím (L5)</c:v>
                </c:pt>
              </c:strCache>
            </c:strRef>
          </c:cat>
          <c:val>
            <c:numRef>
              <c:f>Sheet1!$B$2:$B$13</c:f>
              <c:numCache>
                <c:formatCode>0.00</c:formatCode>
                <c:ptCount val="12"/>
                <c:pt idx="0">
                  <c:v>4.3140000000000001</c:v>
                </c:pt>
                <c:pt idx="1">
                  <c:v>3.9220000000000002</c:v>
                </c:pt>
                <c:pt idx="2">
                  <c:v>3.137</c:v>
                </c:pt>
                <c:pt idx="3">
                  <c:v>2.7450000000000001</c:v>
                </c:pt>
                <c:pt idx="4">
                  <c:v>2.3530000000000002</c:v>
                </c:pt>
                <c:pt idx="5">
                  <c:v>1.9610000000000001</c:v>
                </c:pt>
                <c:pt idx="6">
                  <c:v>1.569</c:v>
                </c:pt>
                <c:pt idx="7">
                  <c:v>1.569</c:v>
                </c:pt>
                <c:pt idx="8">
                  <c:v>1.1759999999999999</c:v>
                </c:pt>
                <c:pt idx="9">
                  <c:v>4.7060000000000004</c:v>
                </c:pt>
                <c:pt idx="10">
                  <c:v>70.587999999999994</c:v>
                </c:pt>
                <c:pt idx="11">
                  <c:v>3.922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28575">
                <a:noFill/>
              </a:ln>
            </c:spPr>
            <c:extLst>
              <c:ext xmlns:c16="http://schemas.microsoft.com/office/drawing/2014/chart" uri="{C3380CC4-5D6E-409C-BE32-E72D297353CC}">
                <c16:uniqueId val="{00000000-664B-4874-99B3-C9002FCFFED9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8CB-4C80-ACE7-6934256B638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6</c:v>
                </c:pt>
                <c:pt idx="1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ln w="38100">
                <a:noFill/>
              </a:ln>
            </c:spPr>
            <c:extLst>
              <c:ext xmlns:c16="http://schemas.microsoft.com/office/drawing/2014/chart" uri="{C3380CC4-5D6E-409C-BE32-E72D297353CC}">
                <c16:uniqueId val="{00000001-CFBD-4A7C-A273-4420CB11699E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C20-447A-84CD-C7A682AB315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9</c:v>
                </c:pt>
                <c:pt idx="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C5A3-4725-9985-B558DF5BBC5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</c:v>
                </c:pt>
                <c:pt idx="1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5-49AF-B8B5-960F113A2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1-4584-4B59-B35A-617BB6499AA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3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0-B41A-47C1-8997-A321FAF48E3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</c:v>
                </c:pt>
                <c:pt idx="1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D-4B77-AE35-4DDBC3664A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BAE-4811-B888-06E5B95AC777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12-4D51-869F-3987B8AD2882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912-4D51-869F-3987B8AD288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Podpora kulturních akcí (den obce, ples, apod.)</c:v>
                </c:pt>
                <c:pt idx="1">
                  <c:v>Rozvoj sportovních či školských aktivit formou sponzoringu</c:v>
                </c:pt>
                <c:pt idx="2">
                  <c:v>Zvýhodněné služby, produkty pro místní obyvatele</c:v>
                </c:pt>
                <c:pt idx="3">
                  <c:v>Firemní dobrovolnictví</c:v>
                </c:pt>
                <c:pt idx="4">
                  <c:v>(Spolu)financování obecních projektů</c:v>
                </c:pt>
                <c:pt idx="5">
                  <c:v>Stipendijní program pro nadané sportovce, studenty</c:v>
                </c:pt>
                <c:pt idx="6">
                  <c:v>Nijak do rozvoje místní komunity zapojeni nejsme.</c:v>
                </c:pt>
              </c:strCache>
            </c:strRef>
          </c:cat>
          <c:val>
            <c:numRef>
              <c:f>Sheet1!$B$2:$B$8</c:f>
              <c:numCache>
                <c:formatCode>0</c:formatCode>
                <c:ptCount val="7"/>
                <c:pt idx="0">
                  <c:v>38.430999999999997</c:v>
                </c:pt>
                <c:pt idx="1">
                  <c:v>26.667000000000002</c:v>
                </c:pt>
                <c:pt idx="2">
                  <c:v>20.391999999999999</c:v>
                </c:pt>
                <c:pt idx="3">
                  <c:v>14.118</c:v>
                </c:pt>
                <c:pt idx="4">
                  <c:v>12.941000000000001</c:v>
                </c:pt>
                <c:pt idx="5">
                  <c:v>5.0979999999999999</c:v>
                </c:pt>
                <c:pt idx="6">
                  <c:v>27.05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5BAE-4811-B888-06E5B95AC777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12-4D51-869F-3987B8AD2882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912-4D51-869F-3987B8AD28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Snížení spotřeby energií, vody atd.</c:v>
                </c:pt>
                <c:pt idx="1">
                  <c:v>Snížení uhlíkové stopy, snížení emisí</c:v>
                </c:pt>
                <c:pt idx="2">
                  <c:v>Dekarbonizace</c:v>
                </c:pt>
                <c:pt idx="3">
                  <c:v>Recyklace, nakládání s odpadem</c:v>
                </c:pt>
                <c:pt idx="4">
                  <c:v>Zelená energie, solární panely, obnovitelné zdroje</c:v>
                </c:pt>
                <c:pt idx="5">
                  <c:v>Něco jiného</c:v>
                </c:pt>
                <c:pt idx="6">
                  <c:v>Nic (L5)</c:v>
                </c:pt>
                <c:pt idx="7">
                  <c:v>Nevím (L5)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5.8819999999999997</c:v>
                </c:pt>
                <c:pt idx="1">
                  <c:v>4.3140000000000001</c:v>
                </c:pt>
                <c:pt idx="2">
                  <c:v>3.137</c:v>
                </c:pt>
                <c:pt idx="3">
                  <c:v>2.3530000000000002</c:v>
                </c:pt>
                <c:pt idx="4">
                  <c:v>1.9610000000000001</c:v>
                </c:pt>
                <c:pt idx="5">
                  <c:v>13.333</c:v>
                </c:pt>
                <c:pt idx="6">
                  <c:v>41.960999999999999</c:v>
                </c:pt>
                <c:pt idx="7">
                  <c:v>30.19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0</c:formatCode>
                <c:ptCount val="6"/>
                <c:pt idx="0">
                  <c:v>39</c:v>
                </c:pt>
                <c:pt idx="1">
                  <c:v>43</c:v>
                </c:pt>
                <c:pt idx="2">
                  <c:v>34</c:v>
                </c:pt>
                <c:pt idx="3">
                  <c:v>38</c:v>
                </c:pt>
                <c:pt idx="4">
                  <c:v>38</c:v>
                </c:pt>
                <c:pt idx="5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0</c:formatCode>
                <c:ptCount val="6"/>
                <c:pt idx="0">
                  <c:v>19</c:v>
                </c:pt>
                <c:pt idx="1">
                  <c:v>17</c:v>
                </c:pt>
                <c:pt idx="2">
                  <c:v>19</c:v>
                </c:pt>
                <c:pt idx="3">
                  <c:v>13</c:v>
                </c:pt>
                <c:pt idx="4">
                  <c:v>24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F1AD7A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4D190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0</c:formatCode>
                <c:ptCount val="6"/>
                <c:pt idx="0">
                  <c:v>29</c:v>
                </c:pt>
                <c:pt idx="1">
                  <c:v>32</c:v>
                </c:pt>
                <c:pt idx="2">
                  <c:v>24</c:v>
                </c:pt>
                <c:pt idx="3">
                  <c:v>28</c:v>
                </c:pt>
                <c:pt idx="4">
                  <c:v>27</c:v>
                </c:pt>
                <c:pt idx="5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0</c:formatCode>
                <c:ptCount val="6"/>
                <c:pt idx="0">
                  <c:v>10</c:v>
                </c:pt>
                <c:pt idx="1">
                  <c:v>4</c:v>
                </c:pt>
                <c:pt idx="2">
                  <c:v>17</c:v>
                </c:pt>
                <c:pt idx="3">
                  <c:v>16</c:v>
                </c:pt>
                <c:pt idx="4">
                  <c:v>12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32F-4495-8921-1B57AD140A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32F-4495-8921-1B57AD140A3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32F-4495-8921-1B57AD140A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0</c:formatCode>
                <c:ptCount val="6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0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E4-4249-8594-A5206395AB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inMax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C9D-4306-B3F6-53DB63A47DB1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EEB-4CA4-B2A0-03EA0C87107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5</c:f>
              <c:strCache>
                <c:ptCount val="14"/>
                <c:pt idx="0">
                  <c:v>Zdraví a bezpečnost</c:v>
                </c:pt>
                <c:pt idx="1">
                  <c:v>Dobré pracovní podmínky a odmítání diskriminace</c:v>
                </c:pt>
                <c:pt idx="2">
                  <c:v>Nižší spotřeba energie a nižší emise skleníkových plynů</c:v>
                </c:pt>
                <c:pt idx="3">
                  <c:v>Nižší spotřeba vody</c:v>
                </c:pt>
                <c:pt idx="4">
                  <c:v>Sociální vztahy</c:v>
                </c:pt>
                <c:pt idx="5">
                  <c:v>Adekvátní odměny zaměstnanců</c:v>
                </c:pt>
                <c:pt idx="6">
                  <c:v>Dodavatelsko-odběratelské vztahy</c:v>
                </c:pt>
                <c:pt idx="7">
                  <c:v>Etika</c:v>
                </c:pt>
                <c:pt idx="8">
                  <c:v>Biodiverzita, nižší znečišťování a odpad</c:v>
                </c:pt>
                <c:pt idx="9">
                  <c:v>Produktová odpovědnost</c:v>
                </c:pt>
                <c:pt idx="10">
                  <c:v>Místní komunity a lidská práva</c:v>
                </c:pt>
                <c:pt idx="11">
                  <c:v>Práva akcionářů</c:v>
                </c:pt>
                <c:pt idx="12">
                  <c:v>Nezávislost představenstva</c:v>
                </c:pt>
                <c:pt idx="13">
                  <c:v>Žádné z uvedených</c:v>
                </c:pt>
              </c:strCache>
            </c:strRef>
          </c:cat>
          <c:val>
            <c:numRef>
              <c:f>Sheet1!$B$2:$B$15</c:f>
              <c:numCache>
                <c:formatCode>0</c:formatCode>
                <c:ptCount val="14"/>
                <c:pt idx="0">
                  <c:v>52.156999999999996</c:v>
                </c:pt>
                <c:pt idx="1">
                  <c:v>51.372999999999998</c:v>
                </c:pt>
                <c:pt idx="2">
                  <c:v>49.02</c:v>
                </c:pt>
                <c:pt idx="3">
                  <c:v>46.667000000000002</c:v>
                </c:pt>
                <c:pt idx="4">
                  <c:v>39.607999999999997</c:v>
                </c:pt>
                <c:pt idx="5">
                  <c:v>40.392000000000003</c:v>
                </c:pt>
                <c:pt idx="6">
                  <c:v>35.686</c:v>
                </c:pt>
                <c:pt idx="7">
                  <c:v>23.137</c:v>
                </c:pt>
                <c:pt idx="8">
                  <c:v>19.216000000000001</c:v>
                </c:pt>
                <c:pt idx="9">
                  <c:v>15.294</c:v>
                </c:pt>
                <c:pt idx="10">
                  <c:v>13.333</c:v>
                </c:pt>
                <c:pt idx="11">
                  <c:v>5.8819999999999997</c:v>
                </c:pt>
                <c:pt idx="12">
                  <c:v>4.3140000000000001</c:v>
                </c:pt>
                <c:pt idx="13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9</c:v>
                </c:pt>
                <c:pt idx="1">
                  <c:v>5</c:v>
                </c:pt>
                <c:pt idx="2">
                  <c:v>15</c:v>
                </c:pt>
                <c:pt idx="3">
                  <c:v>13</c:v>
                </c:pt>
                <c:pt idx="4">
                  <c:v>13</c:v>
                </c:pt>
                <c:pt idx="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0</c:v>
                </c:pt>
                <c:pt idx="1">
                  <c:v>23</c:v>
                </c:pt>
                <c:pt idx="2">
                  <c:v>39</c:v>
                </c:pt>
                <c:pt idx="3">
                  <c:v>35</c:v>
                </c:pt>
                <c:pt idx="4">
                  <c:v>31</c:v>
                </c:pt>
                <c:pt idx="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FE-47DA-96DB-9FD801DAE9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FE-47DA-96DB-9FD801DAE9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FE-47DA-96DB-9FD801DAE9E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61</c:v>
                </c:pt>
                <c:pt idx="1">
                  <c:v>72</c:v>
                </c:pt>
                <c:pt idx="2">
                  <c:v>46</c:v>
                </c:pt>
                <c:pt idx="3">
                  <c:v>52</c:v>
                </c:pt>
                <c:pt idx="4">
                  <c:v>56</c:v>
                </c:pt>
                <c:pt idx="5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</c:v>
                </c:pt>
                <c:pt idx="1">
                  <c:v>11</c:v>
                </c:pt>
                <c:pt idx="2">
                  <c:v>22</c:v>
                </c:pt>
                <c:pt idx="3">
                  <c:v>13</c:v>
                </c:pt>
                <c:pt idx="4">
                  <c:v>22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42</c:v>
                </c:pt>
                <c:pt idx="1">
                  <c:v>39</c:v>
                </c:pt>
                <c:pt idx="2">
                  <c:v>47</c:v>
                </c:pt>
                <c:pt idx="3">
                  <c:v>47</c:v>
                </c:pt>
                <c:pt idx="4">
                  <c:v>42</c:v>
                </c:pt>
                <c:pt idx="5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  <c:pt idx="0">
                  <c:v>20</c:v>
                </c:pt>
                <c:pt idx="1">
                  <c:v>22</c:v>
                </c:pt>
                <c:pt idx="2">
                  <c:v>17</c:v>
                </c:pt>
                <c:pt idx="3">
                  <c:v>21</c:v>
                </c:pt>
                <c:pt idx="4">
                  <c:v>14</c:v>
                </c:pt>
                <c:pt idx="5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FE-47DA-96DB-9FD801DAE9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FE-47DA-96DB-9FD801DAE9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FE-47DA-96DB-9FD801DAE9E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22</c:v>
                </c:pt>
                <c:pt idx="1">
                  <c:v>28</c:v>
                </c:pt>
                <c:pt idx="2">
                  <c:v>14</c:v>
                </c:pt>
                <c:pt idx="3">
                  <c:v>19</c:v>
                </c:pt>
                <c:pt idx="4">
                  <c:v>22</c:v>
                </c:pt>
                <c:pt idx="5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3295306590616"/>
          <c:y val="0.12175811424526092"/>
          <c:w val="0.88346701872885502"/>
          <c:h val="0.8782417262988706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28105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AA1-47D2-ADFE-5CEB06EE120C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991-4DE0-8FCD-49E1CAC7151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4"/>
                <c:pt idx="0">
                  <c:v>klienti</c:v>
                </c:pt>
                <c:pt idx="1">
                  <c:v>banky</c:v>
                </c:pt>
                <c:pt idx="2">
                  <c:v>veřejné</c:v>
                </c:pt>
                <c:pt idx="3">
                  <c:v>Ne</c:v>
                </c:pt>
              </c:strCache>
              <c:extLst/>
            </c:strRef>
          </c:cat>
          <c:val>
            <c:numRef>
              <c:f>Sheet1!$B$2:$B$12</c:f>
              <c:numCache>
                <c:formatCode>General</c:formatCode>
                <c:ptCount val="5"/>
                <c:pt idx="0">
                  <c:v>25</c:v>
                </c:pt>
                <c:pt idx="1">
                  <c:v>11</c:v>
                </c:pt>
                <c:pt idx="2">
                  <c:v>10</c:v>
                </c:pt>
                <c:pt idx="3">
                  <c:v>5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644-402D-91EA-4BFFB7197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1764608"/>
        <c:axId val="91766144"/>
      </c:barChart>
      <c:catAx>
        <c:axId val="91764608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91766144"/>
        <c:crosses val="autoZero"/>
        <c:auto val="1"/>
        <c:lblAlgn val="ctr"/>
        <c:lblOffset val="0"/>
        <c:noMultiLvlLbl val="0"/>
      </c:catAx>
      <c:valAx>
        <c:axId val="91766144"/>
        <c:scaling>
          <c:orientation val="minMax"/>
          <c:max val="95"/>
          <c:min val="0"/>
        </c:scaling>
        <c:delete val="1"/>
        <c:axPos val="b"/>
        <c:numFmt formatCode="#,##0&quot;%&quot;;\-#,##0" sourceLinked="0"/>
        <c:majorTickMark val="out"/>
        <c:minorTickMark val="none"/>
        <c:tickLblPos val="nextTo"/>
        <c:crossAx val="91764608"/>
        <c:crosses val="max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cs-CZ" sz="1100" kern="120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0</c:formatCode>
                <c:ptCount val="6"/>
                <c:pt idx="0">
                  <c:v>14.141</c:v>
                </c:pt>
                <c:pt idx="1">
                  <c:v>5.66</c:v>
                </c:pt>
                <c:pt idx="2">
                  <c:v>23.913</c:v>
                </c:pt>
                <c:pt idx="3">
                  <c:v>18.420999999999999</c:v>
                </c:pt>
                <c:pt idx="4">
                  <c:v>14</c:v>
                </c:pt>
                <c:pt idx="5">
                  <c:v>9.721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0</c:formatCode>
                <c:ptCount val="6"/>
                <c:pt idx="0">
                  <c:v>29.797999999999998</c:v>
                </c:pt>
                <c:pt idx="1">
                  <c:v>28.302</c:v>
                </c:pt>
                <c:pt idx="2">
                  <c:v>31.521999999999998</c:v>
                </c:pt>
                <c:pt idx="3">
                  <c:v>19.736999999999998</c:v>
                </c:pt>
                <c:pt idx="4">
                  <c:v>46</c:v>
                </c:pt>
                <c:pt idx="5">
                  <c:v>29.167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bg2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0</c:formatCode>
                <c:ptCount val="6"/>
                <c:pt idx="0">
                  <c:v>30.303000000000001</c:v>
                </c:pt>
                <c:pt idx="1">
                  <c:v>36.792000000000002</c:v>
                </c:pt>
                <c:pt idx="2">
                  <c:v>22.826000000000001</c:v>
                </c:pt>
                <c:pt idx="3">
                  <c:v>34.210999999999999</c:v>
                </c:pt>
                <c:pt idx="4">
                  <c:v>22</c:v>
                </c:pt>
                <c:pt idx="5">
                  <c:v>31.94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0</c:formatCode>
                <c:ptCount val="6"/>
                <c:pt idx="0">
                  <c:v>23.231999999999999</c:v>
                </c:pt>
                <c:pt idx="1">
                  <c:v>27.358000000000001</c:v>
                </c:pt>
                <c:pt idx="2">
                  <c:v>18.478000000000002</c:v>
                </c:pt>
                <c:pt idx="3">
                  <c:v>23.684000000000001</c:v>
                </c:pt>
                <c:pt idx="4">
                  <c:v>16</c:v>
                </c:pt>
                <c:pt idx="5">
                  <c:v>27.77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dLbl>
              <c:idx val="0"/>
              <c:layout>
                <c:manualLayout>
                  <c:x val="1.0052921304184057E-17"/>
                  <c:y val="7.18727230282751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BD7-48FC-85EB-079AEAABA2DC}"/>
                </c:ext>
              </c:extLst>
            </c:dLbl>
            <c:dLbl>
              <c:idx val="1"/>
              <c:layout>
                <c:manualLayout>
                  <c:x val="0"/>
                  <c:y val="7.18727230282751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BD7-48FC-85EB-079AEAABA2DC}"/>
                </c:ext>
              </c:extLst>
            </c:dLbl>
            <c:dLbl>
              <c:idx val="2"/>
              <c:layout>
                <c:manualLayout>
                  <c:x val="-8.0423370433472454E-17"/>
                  <c:y val="3.59363615141375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D7-48FC-85EB-079AEAABA2DC}"/>
                </c:ext>
              </c:extLst>
            </c:dLbl>
            <c:dLbl>
              <c:idx val="4"/>
              <c:layout>
                <c:manualLayout>
                  <c:x val="0"/>
                  <c:y val="7.187272302827512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BD7-48FC-85EB-079AEAABA2DC}"/>
                </c:ext>
              </c:extLst>
            </c:dLbl>
            <c:dLbl>
              <c:idx val="5"/>
              <c:layout>
                <c:manualLayout>
                  <c:x val="0"/>
                  <c:y val="1.4374827569131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BD7-48FC-85EB-079AEAABA2D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0</c:formatCode>
                <c:ptCount val="6"/>
                <c:pt idx="0">
                  <c:v>2.5249999999999999</c:v>
                </c:pt>
                <c:pt idx="1">
                  <c:v>1.887</c:v>
                </c:pt>
                <c:pt idx="2">
                  <c:v>3.2610000000000001</c:v>
                </c:pt>
                <c:pt idx="3">
                  <c:v>3.9470000000000001</c:v>
                </c:pt>
                <c:pt idx="4">
                  <c:v>2</c:v>
                </c:pt>
                <c:pt idx="5">
                  <c:v>1.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FE-47DA-96DB-9FD801DAE9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FE-47DA-96DB-9FD801DAE9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FE-47DA-96DB-9FD801DAE9E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9.5960000000000001</c:v>
                </c:pt>
                <c:pt idx="1">
                  <c:v>6.6040000000000001</c:v>
                </c:pt>
                <c:pt idx="2">
                  <c:v>13.042999999999999</c:v>
                </c:pt>
                <c:pt idx="3">
                  <c:v>10.526</c:v>
                </c:pt>
                <c:pt idx="4">
                  <c:v>12</c:v>
                </c:pt>
                <c:pt idx="5">
                  <c:v>6.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3.736999999999998</c:v>
                </c:pt>
                <c:pt idx="1">
                  <c:v>17.925000000000001</c:v>
                </c:pt>
                <c:pt idx="2">
                  <c:v>30.434999999999999</c:v>
                </c:pt>
                <c:pt idx="3">
                  <c:v>22.367999999999999</c:v>
                </c:pt>
                <c:pt idx="4">
                  <c:v>32</c:v>
                </c:pt>
                <c:pt idx="5">
                  <c:v>19.44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bg2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26.263000000000002</c:v>
                </c:pt>
                <c:pt idx="1">
                  <c:v>28.302</c:v>
                </c:pt>
                <c:pt idx="2">
                  <c:v>23.913</c:v>
                </c:pt>
                <c:pt idx="3">
                  <c:v>26.315999999999999</c:v>
                </c:pt>
                <c:pt idx="4">
                  <c:v>24</c:v>
                </c:pt>
                <c:pt idx="5">
                  <c:v>27.77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37.878999999999998</c:v>
                </c:pt>
                <c:pt idx="1">
                  <c:v>45.283000000000001</c:v>
                </c:pt>
                <c:pt idx="2">
                  <c:v>29.347999999999999</c:v>
                </c:pt>
                <c:pt idx="3">
                  <c:v>36.841999999999999</c:v>
                </c:pt>
                <c:pt idx="4">
                  <c:v>30</c:v>
                </c:pt>
                <c:pt idx="5">
                  <c:v>44.444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7F7F7F"/>
            </a:solidFill>
            <a:ln w="22355">
              <a:noFill/>
            </a:ln>
          </c:spPr>
          <c:invertIfNegative val="0"/>
          <c:dLbls>
            <c:dLbl>
              <c:idx val="0"/>
              <c:layout>
                <c:manualLayout>
                  <c:x val="1.0052921304184057E-17"/>
                  <c:y val="7.18727230282764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7A5-42D6-9C67-24E2880603F6}"/>
                </c:ext>
              </c:extLst>
            </c:dLbl>
            <c:dLbl>
              <c:idx val="1"/>
              <c:layout>
                <c:manualLayout>
                  <c:x val="0"/>
                  <c:y val="1.078090845424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A5-42D6-9C67-24E2880603F6}"/>
                </c:ext>
              </c:extLst>
            </c:dLbl>
            <c:dLbl>
              <c:idx val="2"/>
              <c:layout>
                <c:manualLayout>
                  <c:x val="-8.0423370433472454E-17"/>
                  <c:y val="3.59363615141375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7A5-42D6-9C67-24E2880603F6}"/>
                </c:ext>
              </c:extLst>
            </c:dLbl>
            <c:dLbl>
              <c:idx val="4"/>
              <c:layout>
                <c:manualLayout>
                  <c:x val="0"/>
                  <c:y val="1.07809084542412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A5-42D6-9C67-24E2880603F6}"/>
                </c:ext>
              </c:extLst>
            </c:dLbl>
            <c:dLbl>
              <c:idx val="5"/>
              <c:layout>
                <c:manualLayout>
                  <c:x val="0"/>
                  <c:y val="1.07811914177177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A5-42D6-9C67-24E2880603F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  <c:pt idx="0">
                  <c:v>2.5249999999999999</c:v>
                </c:pt>
                <c:pt idx="1">
                  <c:v>1.887</c:v>
                </c:pt>
                <c:pt idx="2">
                  <c:v>3.2610000000000001</c:v>
                </c:pt>
                <c:pt idx="3">
                  <c:v>3.9470000000000001</c:v>
                </c:pt>
                <c:pt idx="4">
                  <c:v>2</c:v>
                </c:pt>
                <c:pt idx="5">
                  <c:v>1.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FE-47DA-96DB-9FD801DAE9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FE-47DA-96DB-9FD801DAE9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FE-47DA-96DB-9FD801DAE9E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258286696450715E-2"/>
          <c:y val="0.20270682861609637"/>
          <c:w val="0.97882304199201853"/>
          <c:h val="0.67658454102395005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Sheet1!$A$2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281051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</c:v>
                </c:pt>
                <c:pt idx="1">
                  <c:v>7</c:v>
                </c:pt>
                <c:pt idx="2">
                  <c:v>25</c:v>
                </c:pt>
                <c:pt idx="3">
                  <c:v>18</c:v>
                </c:pt>
                <c:pt idx="4">
                  <c:v>19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FE-47DA-96DB-9FD801DAE9E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1F497D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2</c:v>
                </c:pt>
                <c:pt idx="1">
                  <c:v>52</c:v>
                </c:pt>
                <c:pt idx="2">
                  <c:v>52</c:v>
                </c:pt>
                <c:pt idx="3">
                  <c:v>50</c:v>
                </c:pt>
                <c:pt idx="4">
                  <c:v>45</c:v>
                </c:pt>
                <c:pt idx="5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FE-47DA-96DB-9FD801DAE9EF}"/>
            </c:ext>
          </c:extLst>
        </c:ser>
        <c:ser>
          <c:idx val="8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D1901"/>
            </a:solidFill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B0FE-47DA-96DB-9FD801DAE9EF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008BCA"/>
            </a:solidFill>
            <a:ln w="22355">
              <a:noFill/>
            </a:ln>
          </c:spPr>
          <c:invertIfNegative val="0"/>
          <c:dLbls>
            <c:numFmt formatCode="0" sourceLinked="0"/>
            <c:spPr>
              <a:noFill/>
              <a:ln w="22355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3-B0FE-47DA-96DB-9FD801DAE9EF}"/>
            </c:ext>
          </c:extLst>
        </c:ser>
        <c:ser>
          <c:idx val="0"/>
          <c:order val="4"/>
          <c:tx>
            <c:strRef>
              <c:f>Sheet1!$A$6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993366"/>
            </a:solidFill>
            <a:ln w="22355">
              <a:noFill/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cs-CZ" sz="1200" b="0" i="0" u="none" strike="noStrike" kern="1200" baseline="0">
                    <a:solidFill>
                      <a:prstClr val="white"/>
                    </a:solidFill>
                    <a:latin typeface="+mn-lt"/>
                    <a:ea typeface="Arial"/>
                    <a:cs typeface="Arial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6:$G$6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4-B0FE-47DA-96DB-9FD801DAE9EF}"/>
            </c:ext>
          </c:extLst>
        </c:ser>
        <c:ser>
          <c:idx val="1"/>
          <c:order val="5"/>
          <c:tx>
            <c:strRef>
              <c:f>Sheet1!$A$7</c:f>
              <c:strCache>
                <c:ptCount val="1"/>
                <c:pt idx="0">
                  <c:v>n </c:v>
                </c:pt>
              </c:strCache>
            </c:strRef>
          </c:tx>
          <c:spPr>
            <a:solidFill>
              <a:srgbClr val="C00000"/>
            </a:solidFill>
            <a:ln w="22355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FE-47DA-96DB-9FD801DAE9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FE-47DA-96DB-9FD801DAE9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FE-47DA-96DB-9FD801DAE9E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7:$G$7</c:f>
              <c:numCache>
                <c:formatCode>General</c:formatCode>
                <c:ptCount val="6"/>
                <c:pt idx="0">
                  <c:v>33</c:v>
                </c:pt>
                <c:pt idx="1">
                  <c:v>41</c:v>
                </c:pt>
                <c:pt idx="2">
                  <c:v>22</c:v>
                </c:pt>
                <c:pt idx="3">
                  <c:v>32</c:v>
                </c:pt>
                <c:pt idx="4">
                  <c:v>36</c:v>
                </c:pt>
                <c:pt idx="5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FE-47DA-96DB-9FD801DAE9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43231872"/>
        <c:axId val="43250048"/>
      </c:barChart>
      <c:catAx>
        <c:axId val="432318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2500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3250048"/>
        <c:scaling>
          <c:orientation val="maxMin"/>
          <c:max val="100"/>
          <c:min val="0"/>
        </c:scaling>
        <c:delete val="1"/>
        <c:axPos val="l"/>
        <c:numFmt formatCode="#,##0&quot;%&quot;;\-#,##0" sourceLinked="0"/>
        <c:majorTickMark val="out"/>
        <c:minorTickMark val="none"/>
        <c:tickLblPos val="nextTo"/>
        <c:crossAx val="43231872"/>
        <c:crosses val="autoZero"/>
        <c:crossBetween val="between"/>
        <c:majorUnit val="20"/>
      </c:valAx>
      <c:spPr>
        <a:noFill/>
        <a:ln w="2235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 b="0" i="0" u="none" strike="noStrike" baseline="0">
          <a:solidFill>
            <a:srgbClr val="000000"/>
          </a:solidFill>
          <a:latin typeface="+mn-lt"/>
          <a:ea typeface="Arial"/>
          <a:cs typeface="Arial"/>
        </a:defRPr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DA07-41C7-AB16-1565B55AE10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9</c:v>
                </c:pt>
                <c:pt idx="1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F-4E5A-A74E-C8A501A3EC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D25EA6B0-E58D-4A1E-A648-162AADA6A61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91E68C4-E21B-4D0B-94FD-D76EA0A238B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2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CA4D79-6FB0-4BB0-85DB-07044A98071C}" type="datetimeFigureOut">
              <a:rPr lang="cs-CZ" smtClean="0"/>
              <a:t>06.05.2024</a:t>
            </a:fld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29D328B-10A1-4FC9-9A53-9F699299E5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B79B6BF-EC21-4433-956B-7CEBE069F9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4495F4-F283-4B7C-948C-3B3724F45F8E}" type="slidenum">
              <a:rPr lang="cs-CZ" smtClean="0"/>
              <a:t>‹#›</a:t>
            </a:fld>
            <a:endParaRPr lang="cs-CZ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0EDED45F-4A58-4DF1-AB6E-4D526AD749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13" y="819918"/>
            <a:ext cx="1293015" cy="119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6983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B5026E-EFD2-49A9-A173-00C81CAE018D}" type="datetimeFigureOut">
              <a:rPr lang="cs-CZ" smtClean="0"/>
              <a:t>06.05.2024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EF7F45-9B54-48EE-9ECE-907062FCEB01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86442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30250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2936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ESG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odkazuje na nové požadavky v oblasti společenské odpovědnosti, správy a řízení podniků a ekologické udržitelnosti. MSP je segment firem, které jsou obecně poměrně silné v oblasti CSR, zejména pak na lokální či regionální úrovni. Co se týká ESG, nevidí pak důvod k masivnějším investicím, protože část toho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samy léta přirozeně dělají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, aniž by k tomu potřebovaly speciální administrativní rámec. </a:t>
            </a: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4498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V případě připuštění možnosti investic do ESG se pak firmy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SP patrně zaměří na další sledování  a snižování spotřeby energií, a to i kvůli dramatickému nárůstu jejich cen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, které jsou u nás bohužel vyšší než v zahraničí – to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působuje firmám ztrátu konkurenceschopnosti i marže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To se pak postupně obvykle přetaví do snížené schopnosti investovat do lidí, technologií i inovací. 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5684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 celkového vzorku oslovených firem v našem průzkumu (255 firem), plánuje do ESG v příštím roce investovat 75 (firem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Ty, které se rozhodly (nebo byly “přiměny“) k systematickému pojetí ESG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 přistoupit, ze ¾ by rádo využilo dotace. </a:t>
            </a: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18326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cela klasický a praktický přístup řádného hospodáře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, který firmy segmentu MSP prokazují i jinde, se objevuje i zde: investovat lze do čehokoli, ale musí to mít logiku a praktický přínos. V jakékoliv rovině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Calibr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I proto se k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největším bariérám implementace ESG v MSP sektoru řadí nejasná návratnost investice následovaná nejistotou ve smyslu dostatku financí a informací.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 </a:t>
            </a: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6299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4012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ak uvedeno dříve v této prezentaci, MSP jsou obecně v CSR silné, jakož i v principu řádného hospodáře (úspory), proto ani nevnímají nijak dramaticky tlaky současné situace na jejich dosavadní přístup k některým principům ESG. 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29326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4625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l"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oto je poměrně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ásadní informace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 zpětná vazba z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firemního sektoru: </a:t>
            </a:r>
          </a:p>
          <a:p>
            <a:pPr lvl="0" algn="l"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Velká část firem MSP zatím vůbec netuší, že jim přibude další významná administrativní zátěž. </a:t>
            </a:r>
          </a:p>
          <a:p>
            <a:pPr lvl="0" algn="l">
              <a:defRPr/>
            </a:pP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lvl="0" algn="l"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Jak zmíněno již na počátku naší prezentace, podle některých zdrojů (respondentů) jde o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další byrokratickou nášlapnou minu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 ze směru velkých korporátů či institucionálního segmentu.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4423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MSP jsou v oblasti CSR – zejména na lokální či regionální úrovni – velmi významným prvkem přispívajícím k rozvoji oblasti, kde podnik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Calibr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Typicky se podílejí na organizaci či sponzorují kulturní či sportovní akce, a značná část jejich prostředků míří i do lokálního školství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7358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ento výsledek byl v segmentu MSP spíše očekáván. Jakkoli si podle výstupu 2/3 firem pod pojmem ESG nic přesného nepředstaví, ani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daleka to neznamená, že některé prvky ESG nejsou v MSP dávno implementovány</a:t>
            </a:r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, </a:t>
            </a:r>
            <a:r>
              <a:rPr kumimoji="0" lang="cs-CZ" sz="1200" i="0" u="none" strike="noStrike" kern="0" cap="none" spc="0" normalizeH="0" baseline="0" noProof="0" dirty="0" err="1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a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k je mimo jiné zřejmé i z dalších slidů.</a:t>
            </a:r>
            <a:endParaRPr kumimoji="0" lang="cs-CZ" sz="1200" b="1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200" kern="0" dirty="0">
              <a:solidFill>
                <a:srgbClr val="405A9C">
                  <a:lumMod val="75000"/>
                </a:srgbClr>
              </a:solidFill>
              <a:latin typeface="Calibr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Na druhé straně jde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podle některých zdrojů (respondentů)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další byrokratickou nášlapnou minu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ze směru velkých korporátů či institucionálního světa. </a:t>
            </a: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7196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ovědomí o ESG v segmentu MSP je nižší než u nadnárodních korporací, tedy  je přirozené, že respondenti zatím tápou v konkretizaci ESG cílů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0800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62435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7472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Větší část firem segmentu ESG nemají formálně nastaveny cíle související s ESG, avšak mnohé z nich naplňují přirozeně v rámci aktivit CSR  a nebo z titulu řádného hospodáře (šetření energiemi, další využití recyklovatelného odpadu apod.).  Protože část z těchto ESG cílů je řešena přirozeně, na základě lokální společenské poptávky, nebyl dosud důvod měření „úspěšnosti“ formálně monitorovat.  I proto právě měřitelnost považují firmy za problém. 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8046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cs-CZ" sz="1200" b="0" i="0" dirty="0">
                <a:effectLst/>
                <a:latin typeface="Roboto" panose="02000000000000000000" pitchFamily="2" charset="0"/>
              </a:rPr>
              <a:t>Environmentální faktory měří vliv firmy na životní prostředí, např. v oblasti emisí skleníkových či toxických plynů, odpadového hospodářství, efektivního využívání energií, stavění zelených budov apod.</a:t>
            </a:r>
          </a:p>
          <a:p>
            <a:pPr algn="l" rtl="0"/>
            <a:r>
              <a:rPr lang="cs-CZ" sz="1200" b="0" i="0" dirty="0">
                <a:effectLst/>
                <a:latin typeface="Roboto" panose="02000000000000000000" pitchFamily="2" charset="0"/>
              </a:rPr>
              <a:t>Pod sociální faktory spadají vztahy s lidskými zdroji a třetími stranami, jako jsou péče o zaměstnance, zdraví na pracovišti, ochrana spotřebitelů, charita či dodavatelsko-odběratelské vztahy.</a:t>
            </a:r>
          </a:p>
          <a:p>
            <a:pPr algn="l" rtl="0"/>
            <a:r>
              <a:rPr lang="cs-CZ" sz="1200" b="0" i="0" dirty="0">
                <a:effectLst/>
                <a:latin typeface="Roboto" panose="02000000000000000000" pitchFamily="2" charset="0"/>
              </a:rPr>
              <a:t>Mezi příklady správních faktorů řadíme práva akcionářů, </a:t>
            </a:r>
            <a:r>
              <a:rPr lang="cs-CZ" sz="1200" b="0" i="0" dirty="0" err="1">
                <a:effectLst/>
                <a:latin typeface="Roboto" panose="02000000000000000000" pitchFamily="2" charset="0"/>
              </a:rPr>
              <a:t>compliance</a:t>
            </a:r>
            <a:r>
              <a:rPr lang="cs-CZ" sz="1200" b="0" i="0" dirty="0">
                <a:effectLst/>
                <a:latin typeface="Roboto" panose="02000000000000000000" pitchFamily="2" charset="0"/>
              </a:rPr>
              <a:t>, firemní kulturu, obchodní etiku a etický kodex či daňovou transparentnost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“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3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3062321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cs-CZ" dirty="0"/>
              <a:t>e výrobní firmy, pro které jsou energetické vstupy jedním z hlavních prvků struktury nákladů, investovaly do těchto technologií mezi prvními. </a:t>
            </a:r>
          </a:p>
          <a:p>
            <a:pPr algn="l"/>
            <a:endParaRPr lang="cs-CZ" dirty="0"/>
          </a:p>
          <a:p>
            <a:pPr algn="l"/>
            <a:r>
              <a:rPr lang="cs-CZ" dirty="0"/>
              <a:t>Středně velké firmy reagují na přicházející elektromobilitu velmi rychle. Výrobní podniky začlenily elektromobily do svých flotil jako přirozený prvek. V častých případech to pak souvisí se samotnou investicí do fotovoltaických elektráren. Logicky tak přichází navazující úspory na mobilitu svých zaměstnanců. Takřka jedna pětina malých podniků si ale nemůže elektromobil dovolit z ekonomických důvodů.</a:t>
            </a:r>
          </a:p>
          <a:p>
            <a:pPr algn="l"/>
            <a:endParaRPr lang="cs-CZ" dirty="0"/>
          </a:p>
          <a:p>
            <a:pPr algn="l"/>
            <a:r>
              <a:rPr lang="cs-CZ" dirty="0"/>
              <a:t>Téměř polovina malých podniků nečiní žádné kroky ve vztahu k investicím do obnovitelných zdrojů.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EF7F45-9B54-48EE-9ECE-907062FCEB01}" type="slidenum">
              <a:rPr lang="cs-CZ" smtClean="0"/>
              <a:t>3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286462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0215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Je zřejmé, že segment MSP spíš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přirozeně reaguje na společenskou poptávku a v tomto směru se rozvíjí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Ve firmách menší velikosti se lidé spíše znají a mají tendenci si vyhovět. To se týká i vedení firem – je si vědomo snížené nahraditelnosti každého pracovníka, proto jsou sociální témata běžnou součástí MSP kolektivů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86631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Firmy segmentu MSP se nejčastěji věnují prvku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draví a BOZP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. Není nijak překvapivé, že se snaží o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dobré pracovní podmínky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pro své zaměstnance, ale též odmítají diskriminaci. V MSP je vše více o práci a vzájemné zastupitelnosti, tedy pracovní schopnosti jsou skutečnou hodnotou, a je méně podstatné, kdo a s jakými osobnostními charakteristikami je nabízí. </a:t>
            </a:r>
            <a:endParaRPr lang="cs-CZ" sz="1200" kern="0" dirty="0">
              <a:solidFill>
                <a:srgbClr val="405A9C">
                  <a:lumMod val="75000"/>
                </a:srgbClr>
              </a:solidFill>
              <a:latin typeface="Calibri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Nezanedbatelného výsledku dosáhlo také téma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SNIŽOVÁNÍ SPOTŘEBY ENERGIÍ A VODY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, což může být i důsledek velmi vysokého nárůstu cen v této oblasti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962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Tento výsledek bylo možné předpokládat – větší firmy ze segmentu MSP jsou často v naší subdodavatelské ekonomice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navázány na korporátní dodavatelské řetězce a též více využívají externího financování bankami –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oba tyto sektory jsou již problematikou ESG “dotčeny“ a přenášejí to dále do firemního svět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Zapomíná se ovšem, že administrativní břemeno MSP je již dnes neúměrně vysoké. A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korporátní ESG dotazníky – nijak nemodifikované pro MSP sektor – jsou opravdu extrémní co se týká rozsahu i detailu. 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MSP na rozdíl od korporátů nemají vyčleněného člověka na ESG, ani nemají kapacitu podstupovat řadu školení, aby byly schopny hloubkově řešit ESG. </a:t>
            </a:r>
            <a:endParaRPr kumimoji="0" lang="cs-CZ" sz="1200" b="1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06048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Ano, viz předchozí slide: ty firmy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, které se s požadavkem na plnění cílů ESG setkaly, jsou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navázány na větší dodavatelské řetězce a/nebo mají vyšší bankovní angažovanost, popřípadě jsou byznysově navázány na stát či municipalit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Více než polovina firem MSP </a:t>
            </a:r>
            <a:r>
              <a:rPr kumimoji="0" lang="cs-CZ" sz="120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(zejména malých nebo ze </a:t>
            </a:r>
            <a:r>
              <a:rPr lang="cs-CZ" sz="1200" kern="0" dirty="0" err="1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službového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 sektoru)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se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,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 nicméně, zatím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s ESG vůbec nesetkala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448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Firmy si uvědomují, že prostředí se neustále mění, a vyvíjí se i společenská poptávka.  Proto ESG zcela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neodmítají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Na druhé straně jsou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zdrženlivé k byrokratické zátěži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, která se ke každému novému trendu může vázat – a je nutné říci, že </a:t>
            </a:r>
            <a:r>
              <a:rPr lang="cs-CZ" sz="1200" b="1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mnohdy není nezbytná</a:t>
            </a: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 (právě v již zmíněném rozsahu a hloubce vyžadované po všech subjektech bez ohledu na velikost). 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0621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Z tohoto výsledku je jasně patrný </a:t>
            </a:r>
            <a:r>
              <a:rPr kumimoji="0" lang="cs-CZ" sz="1200" b="1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ohromný rozdíl mezi středními firmami a malými firmami </a:t>
            </a: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(do 49 zaměstnanců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kern="0" dirty="0">
                <a:solidFill>
                  <a:srgbClr val="405A9C">
                    <a:lumMod val="75000"/>
                  </a:srgbClr>
                </a:solidFill>
                <a:latin typeface="Calibri" pitchFamily="34" charset="0"/>
              </a:rPr>
              <a:t>Střední firmy se problematikou ESG více zabývají a buď si dokážou samy poradit nebo již využily služeb poradce (43%), zatímco v segmentu malých firem jich je zatím jen 25%.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srgbClr val="405A9C">
                  <a:lumMod val="75000"/>
                </a:srgb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  <a:p>
            <a:pPr algn="l"/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EF7F45-9B54-48EE-9ECE-907062FCEB01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1170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E47097-F136-43B2-BE43-71747E067B34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Espace réservé pour une image  9">
            <a:extLst>
              <a:ext uri="{FF2B5EF4-FFF2-40B4-BE49-F238E27FC236}">
                <a16:creationId xmlns:a16="http://schemas.microsoft.com/office/drawing/2014/main" id="{19C1BDE3-57F5-469B-B8D1-A0B6C04CD62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que 14">
            <a:extLst>
              <a:ext uri="{FF2B5EF4-FFF2-40B4-BE49-F238E27FC236}">
                <a16:creationId xmlns:a16="http://schemas.microsoft.com/office/drawing/2014/main" id="{006C46FC-AFDA-462D-947F-F240AC5E8B0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60477" y="5302567"/>
            <a:ext cx="939784" cy="847524"/>
          </a:xfrm>
          <a:prstGeom prst="rect">
            <a:avLst/>
          </a:prstGeom>
        </p:spPr>
      </p:pic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55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40">
          <p15:clr>
            <a:srgbClr val="F26B43"/>
          </p15:clr>
        </p15:guide>
        <p15:guide id="6" orient="horz" pos="391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531625-2A4F-435A-944C-1B9D854650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742141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324192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-100" baseline="0">
                <a:solidFill>
                  <a:schemeClr val="accent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07777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4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6C63DAB-340D-4C9C-9688-C839BD99E0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ctr">
              <a:defRPr/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917554D2-5689-4E6C-8737-7276E345966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91053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59EDA7F-9193-410E-830F-C30F637B471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cs-CZ" dirty="0"/>
              <a:t>© Ipsos | Template nabídky | Proposal Template | 2019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4BE1B552-31EB-41B3-A5A0-B629C45A5BAB}"/>
              </a:ext>
            </a:extLst>
          </p:cNvPr>
          <p:cNvSpPr txBox="1"/>
          <p:nvPr userDrawn="1"/>
        </p:nvSpPr>
        <p:spPr>
          <a:xfrm>
            <a:off x="937709" y="5954973"/>
            <a:ext cx="1026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rgbClr val="405A9C"/>
                </a:solidFill>
              </a:rPr>
              <a:t>Na Příkopě 22, Slovanský dům, 110 00, Praha 1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C019B927-872C-46DD-8354-53B6491F5DAE}"/>
              </a:ext>
            </a:extLst>
          </p:cNvPr>
          <p:cNvGrpSpPr/>
          <p:nvPr userDrawn="1"/>
        </p:nvGrpSpPr>
        <p:grpSpPr>
          <a:xfrm>
            <a:off x="3587114" y="6351386"/>
            <a:ext cx="5017773" cy="369332"/>
            <a:chOff x="3587114" y="6202096"/>
            <a:chExt cx="5017773" cy="369332"/>
          </a:xfrm>
        </p:grpSpPr>
        <p:sp>
          <p:nvSpPr>
            <p:cNvPr id="22" name="TextovéPole 21">
              <a:extLst>
                <a:ext uri="{FF2B5EF4-FFF2-40B4-BE49-F238E27FC236}">
                  <a16:creationId xmlns:a16="http://schemas.microsoft.com/office/drawing/2014/main" id="{E41A0299-CBC5-4F91-AD63-506C10767E63}"/>
                </a:ext>
              </a:extLst>
            </p:cNvPr>
            <p:cNvSpPr txBox="1"/>
            <p:nvPr userDrawn="1"/>
          </p:nvSpPr>
          <p:spPr>
            <a:xfrm>
              <a:off x="3587114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z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01E3CADE-5DE0-468A-B9A7-0D9D3411E8A5}"/>
                </a:ext>
              </a:extLst>
            </p:cNvPr>
            <p:cNvSpPr txBox="1"/>
            <p:nvPr userDrawn="1"/>
          </p:nvSpPr>
          <p:spPr>
            <a:xfrm>
              <a:off x="6206489" y="6202096"/>
              <a:ext cx="23983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b="1" u="none" dirty="0">
                  <a:solidFill>
                    <a:srgbClr val="405A9C"/>
                  </a:solidFill>
                </a:rPr>
                <a:t>www.ipsos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685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9207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</a:t>
            </a:r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F14DBEE1-74D1-42A7-8DB6-8200E218D21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118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7551996" cy="75713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</p:txBody>
      </p:sp>
      <p:sp>
        <p:nvSpPr>
          <p:cNvPr id="16" name="Espace réservé du numéro de diapositive 5">
            <a:extLst>
              <a:ext uri="{FF2B5EF4-FFF2-40B4-BE49-F238E27FC236}">
                <a16:creationId xmlns:a16="http://schemas.microsoft.com/office/drawing/2014/main" id="{94B68E69-F300-4943-96DE-87760FAFCD5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prstClr val="white"/>
                </a:solidFill>
              </a:rPr>
              <a:pPr algn="ctr"/>
              <a:t>‹#›</a:t>
            </a:fld>
            <a:r>
              <a:rPr lang="en-GB" dirty="0">
                <a:solidFill>
                  <a:prstClr val="white"/>
                </a:solidFill>
              </a:rPr>
              <a:t>  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DBECA6E2-221C-4967-BEAC-2A5C7E8F1B0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52463EF8-4AA8-44DE-911A-9DFD191CC0E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71490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9268312D-3189-4A3C-983A-806700EB87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958AD6-9EBE-4BFA-A246-FC687759E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Espace réservé du numéro de diapositive 5">
            <a:extLst>
              <a:ext uri="{FF2B5EF4-FFF2-40B4-BE49-F238E27FC236}">
                <a16:creationId xmlns:a16="http://schemas.microsoft.com/office/drawing/2014/main" id="{4E5B4C9A-06EB-4EBD-8415-B778FD1669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349745D3-EF43-423F-ABBD-ABCF2D87D2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28C01186-840F-4400-96DA-156581167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9738957-5836-49C7-9D56-29C7DAB6EA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531625-2A4F-435A-944C-1B9D8546504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1496537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96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63">
          <p15:clr>
            <a:srgbClr val="F26B43"/>
          </p15:clr>
        </p15:guide>
        <p15:guide id="8" orient="horz" pos="4194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BA11410-92D1-41CB-8862-2ECF865D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887ABF7-8DBB-4837-89E7-65FA14CC9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9724E7DA-22C1-4729-8590-7C1848647A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0402309" y="6181529"/>
            <a:ext cx="837615" cy="440533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E425905-F400-4C97-BA9E-2AEDD73F32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4786" y="1301921"/>
            <a:ext cx="2474646" cy="323165"/>
          </a:xfrm>
          <a:noFill/>
        </p:spPr>
        <p:txBody>
          <a:bodyPr wrap="none" lIns="162000" rIns="16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EE772DB-ABD2-46F5-9B59-502902151F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864781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59">
          <p15:clr>
            <a:srgbClr val="F26B43"/>
          </p15:clr>
        </p15:guide>
        <p15:guide id="6" orient="horz" pos="4193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0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9.xml"/><Relationship Id="rId11" Type="http://schemas.openxmlformats.org/officeDocument/2006/relationships/image" Target="../media/image3.svg"/><Relationship Id="rId5" Type="http://schemas.openxmlformats.org/officeDocument/2006/relationships/vmlDrawing" Target="../drawings/vmlDrawing5.vml"/><Relationship Id="rId10" Type="http://schemas.openxmlformats.org/officeDocument/2006/relationships/image" Target="../media/image2.png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9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9.bin"/><Relationship Id="rId5" Type="http://schemas.openxmlformats.org/officeDocument/2006/relationships/tags" Target="../tags/tag18.xml"/><Relationship Id="rId10" Type="http://schemas.openxmlformats.org/officeDocument/2006/relationships/image" Target="../media/image4.emf"/><Relationship Id="rId4" Type="http://schemas.openxmlformats.org/officeDocument/2006/relationships/tags" Target="../tags/tag17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9" imgW="532" imgH="530" progId="TCLayout.ActiveDocument.1">
                  <p:embed/>
                </p:oleObj>
              </mc:Choice>
              <mc:Fallback>
                <p:oleObj name="Diapositive think-cell" r:id="rId9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/>
              <a:pPr algn="ctr"/>
              <a:t>‹#›</a:t>
            </a:fld>
            <a:r>
              <a:rPr lang="en-GB" dirty="0"/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783732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80" r:id="rId2"/>
    <p:sldLayoutId id="2147483696" r:id="rId3"/>
    <p:sldLayoutId id="2147483707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3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8" imgW="532" imgH="530" progId="TCLayout.ActiveDocument.1">
                  <p:embed/>
                </p:oleObj>
              </mc:Choice>
              <mc:Fallback>
                <p:oleObj name="Diapositive think-cell" r:id="rId8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282920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3" r:id="rId2"/>
    <p:sldLayoutId id="2147483935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2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solidFill>
                <a:prstClr val="white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  <a:prstGeom prst="rect">
            <a:avLst/>
          </a:prstGeom>
        </p:spPr>
        <p:txBody>
          <a:bodyPr vert="horz" wrap="square" lIns="162000" tIns="45720" rIns="162000" bIns="45720" rtlCol="0" anchor="t">
            <a:spAutoFit/>
          </a:bodyPr>
          <a:lstStyle/>
          <a:p>
            <a:r>
              <a:rPr lang="en-GB" dirty="0" err="1"/>
              <a:t>Modifiez</a:t>
            </a:r>
            <a:r>
              <a:rPr lang="en-GB" dirty="0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Cliquez</a:t>
            </a:r>
            <a:r>
              <a:rPr lang="en-GB" dirty="0"/>
              <a:t> pour modifier les styles du </a:t>
            </a:r>
            <a:r>
              <a:rPr lang="en-GB" dirty="0" err="1"/>
              <a:t>texte</a:t>
            </a:r>
            <a:r>
              <a:rPr lang="en-GB" dirty="0"/>
              <a:t> du masque</a:t>
            </a:r>
          </a:p>
          <a:p>
            <a:pPr lvl="1"/>
            <a:r>
              <a:rPr lang="en-GB" dirty="0" err="1"/>
              <a:t>Deux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oisièm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67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ctr"/>
            <a:fld id="{D61AABEC-672F-4B68-B914-690DA978312C}" type="slidenum">
              <a:rPr lang="en-GB" smtClean="0">
                <a:solidFill>
                  <a:srgbClr val="405A9C">
                    <a:lumMod val="75000"/>
                  </a:srgbClr>
                </a:solidFill>
              </a:rPr>
              <a:pPr algn="ctr"/>
              <a:t>‹#›</a:t>
            </a:fld>
            <a:r>
              <a:rPr lang="en-GB" dirty="0">
                <a:solidFill>
                  <a:srgbClr val="405A9C">
                    <a:lumMod val="75000"/>
                  </a:srgbClr>
                </a:solidFill>
              </a:rPr>
              <a:t>  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1BF2C47-B8F6-4E71-B2B4-75ACE9A10D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25E3167-726C-4019-880C-53C84592A1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0056" y="6219234"/>
            <a:ext cx="9206839" cy="365125"/>
          </a:xfrm>
          <a:prstGeom prst="rect">
            <a:avLst/>
          </a:prstGeom>
          <a:ln>
            <a:noFill/>
          </a:ln>
        </p:spPr>
        <p:txBody>
          <a:bodyPr vert="horz" lIns="0" tIns="45720" rIns="0" bIns="45720" rtlCol="0" anchor="ctr"/>
          <a:lstStyle>
            <a:lvl1pPr algn="l">
              <a:defRPr lang="en-US" sz="900" b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>
                <a:solidFill>
                  <a:srgbClr val="405A9C">
                    <a:lumMod val="75000"/>
                  </a:srgbClr>
                </a:solidFill>
              </a:rPr>
              <a:t>© Ipsos | Template nabídky | Proposal Template | 2019</a:t>
            </a:r>
          </a:p>
        </p:txBody>
      </p:sp>
    </p:spTree>
    <p:extLst>
      <p:ext uri="{BB962C8B-B14F-4D97-AF65-F5344CB8AC3E}">
        <p14:creationId xmlns:p14="http://schemas.microsoft.com/office/powerpoint/2010/main" val="103262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-10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9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800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90000"/>
        </a:lnSpc>
        <a:spcBef>
          <a:spcPts val="600"/>
        </a:spcBef>
        <a:buSzPct val="80000"/>
        <a:buFontTx/>
        <a:buBlip>
          <a:blip r:embed="rId10"/>
        </a:buBlip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image" Target="../media/image29.jpeg"/><Relationship Id="rId7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Relationship Id="rId9" Type="http://schemas.openxmlformats.org/officeDocument/2006/relationships/chart" Target="../charts/char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image" Target="../media/image29.jpeg"/><Relationship Id="rId7" Type="http://schemas.openxmlformats.org/officeDocument/2006/relationships/chart" Target="../charts/chart24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Relationship Id="rId9" Type="http://schemas.openxmlformats.org/officeDocument/2006/relationships/chart" Target="../charts/chart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31.svg"/><Relationship Id="rId9" Type="http://schemas.openxmlformats.org/officeDocument/2006/relationships/image" Target="../media/image36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5FB11BD-0A6C-480C-92C4-773B4221B4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206" y="491372"/>
            <a:ext cx="10631040" cy="2475348"/>
          </a:xfrm>
        </p:spPr>
        <p:txBody>
          <a:bodyPr>
            <a:normAutofit/>
          </a:bodyPr>
          <a:lstStyle/>
          <a:p>
            <a:r>
              <a:rPr lang="cs-CZ" b="0" dirty="0"/>
              <a:t>Udržitelnost podnikání a esg</a:t>
            </a:r>
            <a:endParaRPr lang="en-GB" b="0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06436AEB-0D96-4BCD-8090-8EE6B3095B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131" y="4071151"/>
            <a:ext cx="6512411" cy="877163"/>
          </a:xfrm>
        </p:spPr>
        <p:txBody>
          <a:bodyPr/>
          <a:lstStyle/>
          <a:p>
            <a:r>
              <a:rPr lang="cs-CZ" dirty="0"/>
              <a:t>Marie Marková</a:t>
            </a:r>
          </a:p>
          <a:p>
            <a:r>
              <a:rPr lang="cs-CZ" dirty="0"/>
              <a:t>Asociace malých a středních podniků a živnostníků ČR </a:t>
            </a:r>
            <a:endParaRPr lang="en-GB" dirty="0"/>
          </a:p>
        </p:txBody>
      </p:sp>
      <p:pic>
        <p:nvPicPr>
          <p:cNvPr id="17" name="Obrázek 16" descr="Obsah obrázku Písmo, Grafika, snímek obrazovky, text&#10;&#10;Popis byl vytvořen automaticky">
            <a:extLst>
              <a:ext uri="{FF2B5EF4-FFF2-40B4-BE49-F238E27FC236}">
                <a16:creationId xmlns:a16="http://schemas.microsoft.com/office/drawing/2014/main" id="{9F7AAC76-6571-8CD1-550E-23991CBC97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6891" y="491372"/>
            <a:ext cx="3635903" cy="805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216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0open. Co si představíte pod pojmem ESG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057215AC-0991-C8F8-C93B-7C48701F8E7D}"/>
              </a:ext>
            </a:extLst>
          </p:cNvPr>
          <p:cNvSpPr/>
          <p:nvPr/>
        </p:nvSpPr>
        <p:spPr>
          <a:xfrm>
            <a:off x="1470422" y="629836"/>
            <a:ext cx="2055302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Udržitelnost“</a:t>
            </a:r>
          </a:p>
        </p:txBody>
      </p:sp>
      <p:sp>
        <p:nvSpPr>
          <p:cNvPr id="10" name="Řečová bublina: obdélníkový bublinový popisek se zakulacenými rohy 9">
            <a:extLst>
              <a:ext uri="{FF2B5EF4-FFF2-40B4-BE49-F238E27FC236}">
                <a16:creationId xmlns:a16="http://schemas.microsoft.com/office/drawing/2014/main" id="{AF4E68F7-1C78-FE18-7234-58F7747E72FF}"/>
              </a:ext>
            </a:extLst>
          </p:cNvPr>
          <p:cNvSpPr/>
          <p:nvPr/>
        </p:nvSpPr>
        <p:spPr>
          <a:xfrm>
            <a:off x="69399" y="997075"/>
            <a:ext cx="1208802" cy="348173"/>
          </a:xfrm>
          <a:prstGeom prst="wedgeRoundRectCallout">
            <a:avLst>
              <a:gd name="adj1" fmla="val 59670"/>
              <a:gd name="adj2" fmla="val 16721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Udržitelné cíle“</a:t>
            </a:r>
          </a:p>
        </p:txBody>
      </p:sp>
      <p:sp>
        <p:nvSpPr>
          <p:cNvPr id="18" name="Řečová bublina: obdélníkový bublinový popisek se zakulacenými rohy 17">
            <a:extLst>
              <a:ext uri="{FF2B5EF4-FFF2-40B4-BE49-F238E27FC236}">
                <a16:creationId xmlns:a16="http://schemas.microsoft.com/office/drawing/2014/main" id="{ABC1217D-6169-990E-74F6-56E0EB104574}"/>
              </a:ext>
            </a:extLst>
          </p:cNvPr>
          <p:cNvSpPr/>
          <p:nvPr/>
        </p:nvSpPr>
        <p:spPr>
          <a:xfrm>
            <a:off x="104349" y="167087"/>
            <a:ext cx="1643631" cy="348173"/>
          </a:xfrm>
          <a:prstGeom prst="wedgeRoundRectCallout">
            <a:avLst>
              <a:gd name="adj1" fmla="val 33742"/>
              <a:gd name="adj2" fmla="val 6972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Udržitelné investice“</a:t>
            </a:r>
          </a:p>
        </p:txBody>
      </p:sp>
      <p:sp>
        <p:nvSpPr>
          <p:cNvPr id="23" name="Řečová bublina: obdélníkový bublinový popisek se zakulacenými rohy 22">
            <a:extLst>
              <a:ext uri="{FF2B5EF4-FFF2-40B4-BE49-F238E27FC236}">
                <a16:creationId xmlns:a16="http://schemas.microsoft.com/office/drawing/2014/main" id="{804058CC-E499-E058-6C3B-285F3164F7A6}"/>
              </a:ext>
            </a:extLst>
          </p:cNvPr>
          <p:cNvSpPr/>
          <p:nvPr/>
        </p:nvSpPr>
        <p:spPr>
          <a:xfrm>
            <a:off x="2043974" y="95601"/>
            <a:ext cx="1982742" cy="348173"/>
          </a:xfrm>
          <a:prstGeom prst="wedgeRoundRectCallout">
            <a:avLst>
              <a:gd name="adj1" fmla="val -40265"/>
              <a:gd name="adj2" fmla="val 86594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Udržitelnost a kroky k ní“</a:t>
            </a:r>
          </a:p>
        </p:txBody>
      </p:sp>
      <p:sp>
        <p:nvSpPr>
          <p:cNvPr id="24" name="Řečová bublina: obdélníkový bublinový popisek se zakulacenými rohy 23">
            <a:extLst>
              <a:ext uri="{FF2B5EF4-FFF2-40B4-BE49-F238E27FC236}">
                <a16:creationId xmlns:a16="http://schemas.microsoft.com/office/drawing/2014/main" id="{EE7BAE9B-5485-26E3-ED69-1C63D641C1F2}"/>
              </a:ext>
            </a:extLst>
          </p:cNvPr>
          <p:cNvSpPr/>
          <p:nvPr/>
        </p:nvSpPr>
        <p:spPr>
          <a:xfrm>
            <a:off x="1396144" y="1596074"/>
            <a:ext cx="2335896" cy="438646"/>
          </a:xfrm>
          <a:prstGeom prst="wedgeRoundRectCallout">
            <a:avLst>
              <a:gd name="adj1" fmla="val 3909"/>
              <a:gd name="adj2" fmla="val -7596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Chování firmy v oblasti ochrany přírody a udržitelnosti“</a:t>
            </a:r>
          </a:p>
        </p:txBody>
      </p:sp>
      <p:sp>
        <p:nvSpPr>
          <p:cNvPr id="25" name="Řečová bublina: obdélníkový bublinový popisek se zakulacenými rohy 24">
            <a:extLst>
              <a:ext uri="{FF2B5EF4-FFF2-40B4-BE49-F238E27FC236}">
                <a16:creationId xmlns:a16="http://schemas.microsoft.com/office/drawing/2014/main" id="{498F6761-F8AF-5534-2750-1092D156193C}"/>
              </a:ext>
            </a:extLst>
          </p:cNvPr>
          <p:cNvSpPr/>
          <p:nvPr/>
        </p:nvSpPr>
        <p:spPr>
          <a:xfrm>
            <a:off x="3717945" y="654857"/>
            <a:ext cx="1164234" cy="690391"/>
          </a:xfrm>
          <a:prstGeom prst="wedgeRoundRectCallout">
            <a:avLst>
              <a:gd name="adj1" fmla="val -61385"/>
              <a:gd name="adj2" fmla="val -1156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Podnikat udržitelně a zodpovědně“</a:t>
            </a:r>
          </a:p>
        </p:txBody>
      </p:sp>
      <p:sp>
        <p:nvSpPr>
          <p:cNvPr id="26" name="Obdélník: se zakulacenými rohy 25">
            <a:extLst>
              <a:ext uri="{FF2B5EF4-FFF2-40B4-BE49-F238E27FC236}">
                <a16:creationId xmlns:a16="http://schemas.microsoft.com/office/drawing/2014/main" id="{2D510988-64D8-8E41-363C-C6AEA3E6CBD8}"/>
              </a:ext>
            </a:extLst>
          </p:cNvPr>
          <p:cNvSpPr/>
          <p:nvPr/>
        </p:nvSpPr>
        <p:spPr>
          <a:xfrm>
            <a:off x="6433663" y="774986"/>
            <a:ext cx="2055302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Vliv firmy na životní prostředí“</a:t>
            </a:r>
          </a:p>
        </p:txBody>
      </p:sp>
      <p:sp>
        <p:nvSpPr>
          <p:cNvPr id="27" name="Řečová bublina: obdélníkový bublinový popisek se zakulacenými rohy 26">
            <a:extLst>
              <a:ext uri="{FF2B5EF4-FFF2-40B4-BE49-F238E27FC236}">
                <a16:creationId xmlns:a16="http://schemas.microsoft.com/office/drawing/2014/main" id="{AAD44195-F464-B089-9C8D-9EC978BACB4A}"/>
              </a:ext>
            </a:extLst>
          </p:cNvPr>
          <p:cNvSpPr/>
          <p:nvPr/>
        </p:nvSpPr>
        <p:spPr>
          <a:xfrm>
            <a:off x="5029524" y="882118"/>
            <a:ext cx="1208802" cy="872911"/>
          </a:xfrm>
          <a:prstGeom prst="wedgeRoundRectCallout">
            <a:avLst>
              <a:gd name="adj1" fmla="val 61752"/>
              <a:gd name="adj2" fmla="val -3325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Vliv firmy na životní prostředí a společnost“</a:t>
            </a:r>
          </a:p>
        </p:txBody>
      </p:sp>
      <p:sp>
        <p:nvSpPr>
          <p:cNvPr id="28" name="Řečová bublina: obdélníkový bublinový popisek se zakulacenými rohy 27">
            <a:extLst>
              <a:ext uri="{FF2B5EF4-FFF2-40B4-BE49-F238E27FC236}">
                <a16:creationId xmlns:a16="http://schemas.microsoft.com/office/drawing/2014/main" id="{FDDDB07B-436F-A824-27BE-193121EEDC89}"/>
              </a:ext>
            </a:extLst>
          </p:cNvPr>
          <p:cNvSpPr/>
          <p:nvPr/>
        </p:nvSpPr>
        <p:spPr>
          <a:xfrm>
            <a:off x="5005758" y="169217"/>
            <a:ext cx="1835404" cy="438646"/>
          </a:xfrm>
          <a:prstGeom prst="wedgeRoundRectCallout">
            <a:avLst>
              <a:gd name="adj1" fmla="val 33742"/>
              <a:gd name="adj2" fmla="val 6972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Životní prostředí, společnost, řízení rizik“</a:t>
            </a:r>
          </a:p>
        </p:txBody>
      </p:sp>
      <p:sp>
        <p:nvSpPr>
          <p:cNvPr id="29" name="Řečová bublina: obdélníkový bublinový popisek se zakulacenými rohy 28">
            <a:extLst>
              <a:ext uri="{FF2B5EF4-FFF2-40B4-BE49-F238E27FC236}">
                <a16:creationId xmlns:a16="http://schemas.microsoft.com/office/drawing/2014/main" id="{65F89028-F394-857D-014A-11AC34F06695}"/>
              </a:ext>
            </a:extLst>
          </p:cNvPr>
          <p:cNvSpPr/>
          <p:nvPr/>
        </p:nvSpPr>
        <p:spPr>
          <a:xfrm>
            <a:off x="7122651" y="132848"/>
            <a:ext cx="2629569" cy="438647"/>
          </a:xfrm>
          <a:prstGeom prst="wedgeRoundRectCallout">
            <a:avLst>
              <a:gd name="adj1" fmla="val -36665"/>
              <a:gd name="adj2" fmla="val 7504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Odpovědnost na vícero úrovních. Společenská, zelená atd.“</a:t>
            </a:r>
          </a:p>
        </p:txBody>
      </p:sp>
      <p:sp>
        <p:nvSpPr>
          <p:cNvPr id="30" name="Řečová bublina: obdélníkový bublinový popisek se zakulacenými rohy 29">
            <a:extLst>
              <a:ext uri="{FF2B5EF4-FFF2-40B4-BE49-F238E27FC236}">
                <a16:creationId xmlns:a16="http://schemas.microsoft.com/office/drawing/2014/main" id="{07C892CB-8704-ADE4-0A0D-2E669CD06876}"/>
              </a:ext>
            </a:extLst>
          </p:cNvPr>
          <p:cNvSpPr/>
          <p:nvPr/>
        </p:nvSpPr>
        <p:spPr>
          <a:xfrm>
            <a:off x="8781213" y="1201257"/>
            <a:ext cx="2335896" cy="438646"/>
          </a:xfrm>
          <a:prstGeom prst="wedgeRoundRectCallout">
            <a:avLst>
              <a:gd name="adj1" fmla="val -57144"/>
              <a:gd name="adj2" fmla="val 6270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Environmentálně a společensky odpovědná firma“</a:t>
            </a:r>
          </a:p>
        </p:txBody>
      </p:sp>
      <p:sp>
        <p:nvSpPr>
          <p:cNvPr id="31" name="Řečová bublina: obdélníkový bublinový popisek se zakulacenými rohy 30">
            <a:extLst>
              <a:ext uri="{FF2B5EF4-FFF2-40B4-BE49-F238E27FC236}">
                <a16:creationId xmlns:a16="http://schemas.microsoft.com/office/drawing/2014/main" id="{FB88DE19-1FA1-3F32-4EA0-93A0B6D66F81}"/>
              </a:ext>
            </a:extLst>
          </p:cNvPr>
          <p:cNvSpPr/>
          <p:nvPr/>
        </p:nvSpPr>
        <p:spPr>
          <a:xfrm>
            <a:off x="8767934" y="655632"/>
            <a:ext cx="1968572" cy="438646"/>
          </a:xfrm>
          <a:prstGeom prst="wedgeRoundRectCallout">
            <a:avLst>
              <a:gd name="adj1" fmla="val -59831"/>
              <a:gd name="adj2" fmla="val 35824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Zodpovědné chování k životnímu prostředí“</a:t>
            </a:r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1A12D237-00AE-7276-B7BB-D7FA2F00B251}"/>
              </a:ext>
            </a:extLst>
          </p:cNvPr>
          <p:cNvSpPr/>
          <p:nvPr/>
        </p:nvSpPr>
        <p:spPr>
          <a:xfrm>
            <a:off x="1487200" y="2872432"/>
            <a:ext cx="2055302" cy="874359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Společenská zodpovědnost firem“</a:t>
            </a:r>
          </a:p>
        </p:txBody>
      </p:sp>
      <p:sp>
        <p:nvSpPr>
          <p:cNvPr id="6" name="Řečová bublina: obdélníkový bublinový popisek se zakulacenými rohy 5">
            <a:extLst>
              <a:ext uri="{FF2B5EF4-FFF2-40B4-BE49-F238E27FC236}">
                <a16:creationId xmlns:a16="http://schemas.microsoft.com/office/drawing/2014/main" id="{4680E355-3002-680D-3E43-8E8299F9AB37}"/>
              </a:ext>
            </a:extLst>
          </p:cNvPr>
          <p:cNvSpPr/>
          <p:nvPr/>
        </p:nvSpPr>
        <p:spPr>
          <a:xfrm>
            <a:off x="349414" y="2165149"/>
            <a:ext cx="1884897" cy="532963"/>
          </a:xfrm>
          <a:prstGeom prst="wedgeRoundRectCallout">
            <a:avLst>
              <a:gd name="adj1" fmla="val 33742"/>
              <a:gd name="adj2" fmla="val 6972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Vliv firmy na životní prostředí a společnost“</a:t>
            </a:r>
          </a:p>
        </p:txBody>
      </p:sp>
      <p:sp>
        <p:nvSpPr>
          <p:cNvPr id="8" name="Řečová bublina: obdélníkový bublinový popisek se zakulacenými rohy 7">
            <a:extLst>
              <a:ext uri="{FF2B5EF4-FFF2-40B4-BE49-F238E27FC236}">
                <a16:creationId xmlns:a16="http://schemas.microsoft.com/office/drawing/2014/main" id="{E7B98A97-304C-B695-8056-0C40020A4A5F}"/>
              </a:ext>
            </a:extLst>
          </p:cNvPr>
          <p:cNvSpPr/>
          <p:nvPr/>
        </p:nvSpPr>
        <p:spPr>
          <a:xfrm>
            <a:off x="83061" y="3072764"/>
            <a:ext cx="1208802" cy="438646"/>
          </a:xfrm>
          <a:prstGeom prst="wedgeRoundRectCallout">
            <a:avLst>
              <a:gd name="adj1" fmla="val 60017"/>
              <a:gd name="adj2" fmla="val 10441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Společenská odpovědnost“</a:t>
            </a:r>
          </a:p>
        </p:txBody>
      </p:sp>
      <p:sp>
        <p:nvSpPr>
          <p:cNvPr id="13" name="Řečová bublina: obdélníkový bublinový popisek se zakulacenými rohy 12">
            <a:extLst>
              <a:ext uri="{FF2B5EF4-FFF2-40B4-BE49-F238E27FC236}">
                <a16:creationId xmlns:a16="http://schemas.microsoft.com/office/drawing/2014/main" id="{4D17E4AD-EA65-FD1C-D1DF-4B33505089C4}"/>
              </a:ext>
            </a:extLst>
          </p:cNvPr>
          <p:cNvSpPr/>
          <p:nvPr/>
        </p:nvSpPr>
        <p:spPr>
          <a:xfrm>
            <a:off x="130068" y="3923740"/>
            <a:ext cx="2323588" cy="620827"/>
          </a:xfrm>
          <a:prstGeom prst="wedgeRoundRectCallout">
            <a:avLst>
              <a:gd name="adj1" fmla="val 35319"/>
              <a:gd name="adj2" fmla="val -69210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Myslím, že to je společenská odpovědnost a ekologická udržitelnost“</a:t>
            </a:r>
          </a:p>
        </p:txBody>
      </p:sp>
      <p:sp>
        <p:nvSpPr>
          <p:cNvPr id="15" name="Řečová bublina: obdélníkový bublinový popisek se zakulacenými rohy 14">
            <a:extLst>
              <a:ext uri="{FF2B5EF4-FFF2-40B4-BE49-F238E27FC236}">
                <a16:creationId xmlns:a16="http://schemas.microsoft.com/office/drawing/2014/main" id="{4D601949-E002-CE04-9584-FE3E18A56018}"/>
              </a:ext>
            </a:extLst>
          </p:cNvPr>
          <p:cNvSpPr/>
          <p:nvPr/>
        </p:nvSpPr>
        <p:spPr>
          <a:xfrm>
            <a:off x="2407217" y="2196434"/>
            <a:ext cx="2335896" cy="477426"/>
          </a:xfrm>
          <a:prstGeom prst="wedgeRoundRectCallout">
            <a:avLst>
              <a:gd name="adj1" fmla="val -34872"/>
              <a:gd name="adj2" fmla="val 7756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Požadavky v oblasti společenské odpovědnosti“</a:t>
            </a:r>
          </a:p>
        </p:txBody>
      </p:sp>
      <p:sp>
        <p:nvSpPr>
          <p:cNvPr id="19" name="Obdélník: se zakulacenými rohy 18">
            <a:extLst>
              <a:ext uri="{FF2B5EF4-FFF2-40B4-BE49-F238E27FC236}">
                <a16:creationId xmlns:a16="http://schemas.microsoft.com/office/drawing/2014/main" id="{19C41581-EA41-A295-AFBC-CCD9127D1C90}"/>
              </a:ext>
            </a:extLst>
          </p:cNvPr>
          <p:cNvSpPr/>
          <p:nvPr/>
        </p:nvSpPr>
        <p:spPr>
          <a:xfrm>
            <a:off x="6483997" y="2357873"/>
            <a:ext cx="2055302" cy="874359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Energie a jejich úspora“</a:t>
            </a:r>
          </a:p>
        </p:txBody>
      </p:sp>
      <p:sp>
        <p:nvSpPr>
          <p:cNvPr id="22" name="Řečová bublina: obdélníkový bublinový popisek se zakulacenými rohy 21">
            <a:extLst>
              <a:ext uri="{FF2B5EF4-FFF2-40B4-BE49-F238E27FC236}">
                <a16:creationId xmlns:a16="http://schemas.microsoft.com/office/drawing/2014/main" id="{28323DD7-2897-45B2-E1E6-9EA3E8BFB403}"/>
              </a:ext>
            </a:extLst>
          </p:cNvPr>
          <p:cNvSpPr/>
          <p:nvPr/>
        </p:nvSpPr>
        <p:spPr>
          <a:xfrm>
            <a:off x="6546990" y="3374369"/>
            <a:ext cx="2774794" cy="690391"/>
          </a:xfrm>
          <a:prstGeom prst="wedgeRoundRectCallout">
            <a:avLst>
              <a:gd name="adj1" fmla="val 7170"/>
              <a:gd name="adj2" fmla="val -67460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Nevím, neznám ten pojem. Odvozuji si, že to bude něco spojeného s energií a společností, ale nevím.“</a:t>
            </a:r>
          </a:p>
        </p:txBody>
      </p:sp>
      <p:sp>
        <p:nvSpPr>
          <p:cNvPr id="32" name="Řečová bublina: obdélníkový bublinový popisek se zakulacenými rohy 31">
            <a:extLst>
              <a:ext uri="{FF2B5EF4-FFF2-40B4-BE49-F238E27FC236}">
                <a16:creationId xmlns:a16="http://schemas.microsoft.com/office/drawing/2014/main" id="{9F37397A-CAD2-A35A-C55B-C4467BC17B47}"/>
              </a:ext>
            </a:extLst>
          </p:cNvPr>
          <p:cNvSpPr/>
          <p:nvPr/>
        </p:nvSpPr>
        <p:spPr>
          <a:xfrm>
            <a:off x="5460425" y="2857768"/>
            <a:ext cx="944629" cy="597925"/>
          </a:xfrm>
          <a:prstGeom prst="wedgeRoundRectCallout">
            <a:avLst>
              <a:gd name="adj1" fmla="val 46052"/>
              <a:gd name="adj2" fmla="val -6206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Kontrola energií online“</a:t>
            </a:r>
          </a:p>
        </p:txBody>
      </p:sp>
      <p:sp>
        <p:nvSpPr>
          <p:cNvPr id="33" name="Řečová bublina: obdélníkový bublinový popisek se zakulacenými rohy 32">
            <a:extLst>
              <a:ext uri="{FF2B5EF4-FFF2-40B4-BE49-F238E27FC236}">
                <a16:creationId xmlns:a16="http://schemas.microsoft.com/office/drawing/2014/main" id="{63EBD324-66C6-6D62-53DC-4FBD48CC2A1B}"/>
              </a:ext>
            </a:extLst>
          </p:cNvPr>
          <p:cNvSpPr/>
          <p:nvPr/>
        </p:nvSpPr>
        <p:spPr>
          <a:xfrm>
            <a:off x="4903208" y="2186383"/>
            <a:ext cx="1466491" cy="492447"/>
          </a:xfrm>
          <a:prstGeom prst="wedgeRoundRectCallout">
            <a:avLst>
              <a:gd name="adj1" fmla="val 57028"/>
              <a:gd name="adj2" fmla="val 29320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Energeticky výhodné projekty“</a:t>
            </a:r>
          </a:p>
        </p:txBody>
      </p:sp>
      <p:sp>
        <p:nvSpPr>
          <p:cNvPr id="34" name="Řečová bublina: obdélníkový bublinový popisek se zakulacenými rohy 33">
            <a:extLst>
              <a:ext uri="{FF2B5EF4-FFF2-40B4-BE49-F238E27FC236}">
                <a16:creationId xmlns:a16="http://schemas.microsoft.com/office/drawing/2014/main" id="{2C4A71EE-AFD1-0665-C1AE-CD169E53EC94}"/>
              </a:ext>
            </a:extLst>
          </p:cNvPr>
          <p:cNvSpPr/>
          <p:nvPr/>
        </p:nvSpPr>
        <p:spPr>
          <a:xfrm>
            <a:off x="6220368" y="1811781"/>
            <a:ext cx="1880001" cy="323372"/>
          </a:xfrm>
          <a:prstGeom prst="wedgeRoundRectCallout">
            <a:avLst>
              <a:gd name="adj1" fmla="val 40800"/>
              <a:gd name="adj2" fmla="val 9479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Energetická spořivost“</a:t>
            </a:r>
          </a:p>
        </p:txBody>
      </p:sp>
      <p:sp>
        <p:nvSpPr>
          <p:cNvPr id="35" name="Řečová bublina: obdélníkový bublinový popisek se zakulacenými rohy 34">
            <a:extLst>
              <a:ext uri="{FF2B5EF4-FFF2-40B4-BE49-F238E27FC236}">
                <a16:creationId xmlns:a16="http://schemas.microsoft.com/office/drawing/2014/main" id="{AF2FCFC8-88F6-4F8E-8DC2-1E2DEADF1F4E}"/>
              </a:ext>
            </a:extLst>
          </p:cNvPr>
          <p:cNvSpPr/>
          <p:nvPr/>
        </p:nvSpPr>
        <p:spPr>
          <a:xfrm>
            <a:off x="8220694" y="1870424"/>
            <a:ext cx="917803" cy="327828"/>
          </a:xfrm>
          <a:prstGeom prst="wedgeRoundRectCallout">
            <a:avLst>
              <a:gd name="adj1" fmla="val -30308"/>
              <a:gd name="adj2" fmla="val 77999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Soláry“</a:t>
            </a:r>
          </a:p>
        </p:txBody>
      </p:sp>
      <p:sp>
        <p:nvSpPr>
          <p:cNvPr id="36" name="Obdélník: se zakulacenými rohy 35">
            <a:extLst>
              <a:ext uri="{FF2B5EF4-FFF2-40B4-BE49-F238E27FC236}">
                <a16:creationId xmlns:a16="http://schemas.microsoft.com/office/drawing/2014/main" id="{FB7A9431-BD60-38D0-3180-774BF6EF54F1}"/>
              </a:ext>
            </a:extLst>
          </p:cNvPr>
          <p:cNvSpPr/>
          <p:nvPr/>
        </p:nvSpPr>
        <p:spPr>
          <a:xfrm>
            <a:off x="5150021" y="4265354"/>
            <a:ext cx="2055302" cy="874359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Odpovědnost firem“</a:t>
            </a:r>
          </a:p>
        </p:txBody>
      </p:sp>
      <p:sp>
        <p:nvSpPr>
          <p:cNvPr id="37" name="Řečová bublina: obdélníkový bublinový popisek se zakulacenými rohy 36">
            <a:extLst>
              <a:ext uri="{FF2B5EF4-FFF2-40B4-BE49-F238E27FC236}">
                <a16:creationId xmlns:a16="http://schemas.microsoft.com/office/drawing/2014/main" id="{5C12D451-831A-35E9-CBF3-56F74A0E377D}"/>
              </a:ext>
            </a:extLst>
          </p:cNvPr>
          <p:cNvSpPr/>
          <p:nvPr/>
        </p:nvSpPr>
        <p:spPr>
          <a:xfrm>
            <a:off x="7357237" y="4281483"/>
            <a:ext cx="1726914" cy="332247"/>
          </a:xfrm>
          <a:prstGeom prst="wedgeRoundRectCallout">
            <a:avLst>
              <a:gd name="adj1" fmla="val -55187"/>
              <a:gd name="adj2" fmla="val 4194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Zodpovědnost firem“</a:t>
            </a:r>
          </a:p>
        </p:txBody>
      </p:sp>
      <p:sp>
        <p:nvSpPr>
          <p:cNvPr id="38" name="Řečová bublina: obdélníkový bublinový popisek se zakulacenými rohy 37">
            <a:extLst>
              <a:ext uri="{FF2B5EF4-FFF2-40B4-BE49-F238E27FC236}">
                <a16:creationId xmlns:a16="http://schemas.microsoft.com/office/drawing/2014/main" id="{A5DF7A84-75DA-060B-9019-6AF9CD8EF086}"/>
              </a:ext>
            </a:extLst>
          </p:cNvPr>
          <p:cNvSpPr/>
          <p:nvPr/>
        </p:nvSpPr>
        <p:spPr>
          <a:xfrm>
            <a:off x="7411583" y="4743379"/>
            <a:ext cx="1726914" cy="332247"/>
          </a:xfrm>
          <a:prstGeom prst="wedgeRoundRectCallout">
            <a:avLst>
              <a:gd name="adj1" fmla="val -59560"/>
              <a:gd name="adj2" fmla="val -3885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Odpovědnost firmy“</a:t>
            </a:r>
          </a:p>
        </p:txBody>
      </p:sp>
      <p:sp>
        <p:nvSpPr>
          <p:cNvPr id="39" name="Obdélník: se zakulacenými rohy 38">
            <a:extLst>
              <a:ext uri="{FF2B5EF4-FFF2-40B4-BE49-F238E27FC236}">
                <a16:creationId xmlns:a16="http://schemas.microsoft.com/office/drawing/2014/main" id="{3FF62B6A-370C-C255-B9B0-29130CB066A0}"/>
              </a:ext>
            </a:extLst>
          </p:cNvPr>
          <p:cNvSpPr/>
          <p:nvPr/>
        </p:nvSpPr>
        <p:spPr>
          <a:xfrm>
            <a:off x="764609" y="4845855"/>
            <a:ext cx="2055302" cy="874359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Odpovědnost v sociální oblasti“</a:t>
            </a:r>
          </a:p>
        </p:txBody>
      </p:sp>
      <p:sp>
        <p:nvSpPr>
          <p:cNvPr id="40" name="Řečová bublina: obdélníkový bublinový popisek se zakulacenými rohy 39">
            <a:extLst>
              <a:ext uri="{FF2B5EF4-FFF2-40B4-BE49-F238E27FC236}">
                <a16:creationId xmlns:a16="http://schemas.microsoft.com/office/drawing/2014/main" id="{09CAA23E-B5FE-6BC1-52AD-D695F4985001}"/>
              </a:ext>
            </a:extLst>
          </p:cNvPr>
          <p:cNvSpPr/>
          <p:nvPr/>
        </p:nvSpPr>
        <p:spPr>
          <a:xfrm>
            <a:off x="2799281" y="3921111"/>
            <a:ext cx="1726914" cy="1041966"/>
          </a:xfrm>
          <a:prstGeom prst="wedgeRoundRectCallout">
            <a:avLst>
              <a:gd name="adj1" fmla="val -41100"/>
              <a:gd name="adj2" fmla="val 5947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Je to de facto kolektivní odpovědnost firmy v oblasti sociální a environmentální.“</a:t>
            </a:r>
          </a:p>
        </p:txBody>
      </p:sp>
      <p:sp>
        <p:nvSpPr>
          <p:cNvPr id="41" name="Řečová bublina: obdélníkový bublinový popisek se zakulacenými rohy 40">
            <a:extLst>
              <a:ext uri="{FF2B5EF4-FFF2-40B4-BE49-F238E27FC236}">
                <a16:creationId xmlns:a16="http://schemas.microsoft.com/office/drawing/2014/main" id="{F2717FBC-6A92-8F23-C7AF-B6A08264C9FF}"/>
              </a:ext>
            </a:extLst>
          </p:cNvPr>
          <p:cNvSpPr/>
          <p:nvPr/>
        </p:nvSpPr>
        <p:spPr>
          <a:xfrm>
            <a:off x="3117886" y="5070306"/>
            <a:ext cx="1976022" cy="825902"/>
          </a:xfrm>
          <a:prstGeom prst="wedgeRoundRectCallout">
            <a:avLst>
              <a:gd name="adj1" fmla="val -61813"/>
              <a:gd name="adj2" fmla="val -2684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Kolektivní odpovědnosti firmy v oblasti sociálních a environmentálních faktorů“</a:t>
            </a:r>
          </a:p>
        </p:txBody>
      </p:sp>
      <p:sp>
        <p:nvSpPr>
          <p:cNvPr id="42" name="Obdélník: se zakulacenými rohy 41">
            <a:extLst>
              <a:ext uri="{FF2B5EF4-FFF2-40B4-BE49-F238E27FC236}">
                <a16:creationId xmlns:a16="http://schemas.microsoft.com/office/drawing/2014/main" id="{86B4ED25-E06E-2F0D-C1C5-3ADB272C59BC}"/>
              </a:ext>
            </a:extLst>
          </p:cNvPr>
          <p:cNvSpPr/>
          <p:nvPr/>
        </p:nvSpPr>
        <p:spPr>
          <a:xfrm>
            <a:off x="6369699" y="5785143"/>
            <a:ext cx="2055302" cy="874359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Něco jiného“</a:t>
            </a:r>
          </a:p>
        </p:txBody>
      </p:sp>
      <p:sp>
        <p:nvSpPr>
          <p:cNvPr id="44" name="Řečová bublina: obdélníkový bublinový popisek se zakulacenými rohy 43">
            <a:extLst>
              <a:ext uri="{FF2B5EF4-FFF2-40B4-BE49-F238E27FC236}">
                <a16:creationId xmlns:a16="http://schemas.microsoft.com/office/drawing/2014/main" id="{F5364776-FCBF-24DD-680A-237308EF9B3F}"/>
              </a:ext>
            </a:extLst>
          </p:cNvPr>
          <p:cNvSpPr/>
          <p:nvPr/>
        </p:nvSpPr>
        <p:spPr>
          <a:xfrm>
            <a:off x="8066751" y="5316635"/>
            <a:ext cx="1182847" cy="438646"/>
          </a:xfrm>
          <a:prstGeom prst="wedgeRoundRectCallout">
            <a:avLst>
              <a:gd name="adj1" fmla="val -55187"/>
              <a:gd name="adj2" fmla="val 41945"/>
              <a:gd name="adj3" fmla="val 16667"/>
            </a:avLst>
          </a:prstGeom>
          <a:noFill/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Skvělou budoucnost“</a:t>
            </a:r>
          </a:p>
        </p:txBody>
      </p:sp>
      <p:sp>
        <p:nvSpPr>
          <p:cNvPr id="45" name="Řečová bublina: obdélníkový bublinový popisek se zakulacenými rohy 44">
            <a:extLst>
              <a:ext uri="{FF2B5EF4-FFF2-40B4-BE49-F238E27FC236}">
                <a16:creationId xmlns:a16="http://schemas.microsoft.com/office/drawing/2014/main" id="{406E731B-7B0F-C8A8-B128-D15EFAEF43A0}"/>
              </a:ext>
            </a:extLst>
          </p:cNvPr>
          <p:cNvSpPr/>
          <p:nvPr/>
        </p:nvSpPr>
        <p:spPr>
          <a:xfrm>
            <a:off x="6921317" y="5410897"/>
            <a:ext cx="920102" cy="266574"/>
          </a:xfrm>
          <a:prstGeom prst="wedgeRoundRectCallout">
            <a:avLst>
              <a:gd name="adj1" fmla="val 32047"/>
              <a:gd name="adj2" fmla="val 66807"/>
              <a:gd name="adj3" fmla="val 16667"/>
            </a:avLst>
          </a:prstGeom>
          <a:noFill/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Úsporu“</a:t>
            </a:r>
          </a:p>
        </p:txBody>
      </p:sp>
      <p:sp>
        <p:nvSpPr>
          <p:cNvPr id="46" name="Řečová bublina: obdélníkový bublinový popisek se zakulacenými rohy 45">
            <a:extLst>
              <a:ext uri="{FF2B5EF4-FFF2-40B4-BE49-F238E27FC236}">
                <a16:creationId xmlns:a16="http://schemas.microsoft.com/office/drawing/2014/main" id="{C089CE86-EC6C-4C4F-6F78-82DF8EAB10DD}"/>
              </a:ext>
            </a:extLst>
          </p:cNvPr>
          <p:cNvSpPr/>
          <p:nvPr/>
        </p:nvSpPr>
        <p:spPr>
          <a:xfrm>
            <a:off x="5679756" y="5410897"/>
            <a:ext cx="1081856" cy="266574"/>
          </a:xfrm>
          <a:prstGeom prst="wedgeRoundRectCallout">
            <a:avLst>
              <a:gd name="adj1" fmla="val 32047"/>
              <a:gd name="adj2" fmla="val 66807"/>
              <a:gd name="adj3" fmla="val 16667"/>
            </a:avLst>
          </a:prstGeom>
          <a:noFill/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Byrokracie“</a:t>
            </a:r>
          </a:p>
        </p:txBody>
      </p:sp>
      <p:sp>
        <p:nvSpPr>
          <p:cNvPr id="47" name="Řečová bublina: obdélníkový bublinový popisek se zakulacenými rohy 46">
            <a:extLst>
              <a:ext uri="{FF2B5EF4-FFF2-40B4-BE49-F238E27FC236}">
                <a16:creationId xmlns:a16="http://schemas.microsoft.com/office/drawing/2014/main" id="{2C8CA969-D9B3-82BF-F656-DC7096B64338}"/>
              </a:ext>
            </a:extLst>
          </p:cNvPr>
          <p:cNvSpPr/>
          <p:nvPr/>
        </p:nvSpPr>
        <p:spPr>
          <a:xfrm>
            <a:off x="4463499" y="6122005"/>
            <a:ext cx="1675278" cy="438646"/>
          </a:xfrm>
          <a:prstGeom prst="wedgeRoundRectCallout">
            <a:avLst>
              <a:gd name="adj1" fmla="val 59485"/>
              <a:gd name="adj2" fmla="val -42204"/>
              <a:gd name="adj3" fmla="val 16667"/>
            </a:avLst>
          </a:prstGeom>
          <a:noFill/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Investování nejenom pro peníze“</a:t>
            </a:r>
          </a:p>
        </p:txBody>
      </p:sp>
      <p:sp>
        <p:nvSpPr>
          <p:cNvPr id="48" name="Řečová bublina: obdélníkový bublinový popisek se zakulacenými rohy 47">
            <a:extLst>
              <a:ext uri="{FF2B5EF4-FFF2-40B4-BE49-F238E27FC236}">
                <a16:creationId xmlns:a16="http://schemas.microsoft.com/office/drawing/2014/main" id="{D6B08844-492D-AB28-05C7-F425F05B5D2A}"/>
              </a:ext>
            </a:extLst>
          </p:cNvPr>
          <p:cNvSpPr/>
          <p:nvPr/>
        </p:nvSpPr>
        <p:spPr>
          <a:xfrm>
            <a:off x="8625601" y="6178189"/>
            <a:ext cx="982414" cy="314934"/>
          </a:xfrm>
          <a:prstGeom prst="wedgeRoundRectCallout">
            <a:avLst>
              <a:gd name="adj1" fmla="val -55187"/>
              <a:gd name="adj2" fmla="val 41945"/>
              <a:gd name="adj3" fmla="val 16667"/>
            </a:avLst>
          </a:prstGeom>
          <a:noFill/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200" dirty="0">
                <a:solidFill>
                  <a:schemeClr val="tx1"/>
                </a:solidFill>
              </a:rPr>
              <a:t>„Robot?“</a:t>
            </a:r>
          </a:p>
        </p:txBody>
      </p:sp>
    </p:spTree>
    <p:extLst>
      <p:ext uri="{BB962C8B-B14F-4D97-AF65-F5344CB8AC3E}">
        <p14:creationId xmlns:p14="http://schemas.microsoft.com/office/powerpoint/2010/main" val="940680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18187"/>
              </p:ext>
            </p:extLst>
          </p:nvPr>
        </p:nvGraphicFramePr>
        <p:xfrm>
          <a:off x="540682" y="1755844"/>
          <a:ext cx="8679518" cy="39785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6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9229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820648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1585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o, v oblasti sociál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1585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o, v oblasti řízení společnost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1585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o, v oblasti enviromentáln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631585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tím nic nepodnikáme, ale monitorujeme situaci a připravujeme se na případné krok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1585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atím v této oblasti nic nepodnikáme a ani to neplánuje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9818248"/>
              </p:ext>
            </p:extLst>
          </p:nvPr>
        </p:nvGraphicFramePr>
        <p:xfrm>
          <a:off x="3461403" y="2181138"/>
          <a:ext cx="2092110" cy="3561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V RÁMCI UDRŽITELNOSTI SE FIRMY ZAMĚŘUJÍ NEJVÍCE NA SOCIÁLNÍ OBLAST. Menší firmy častěji nic nepodnikaj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ěláte v současné době něco pro udržitelnost svého podnikání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. Děláte v současné době něco pro udržitelnost Vašeho podnikání? Můžete vybrat více možností.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A3F19044-6D73-5700-D39D-8890EDA1E8B9}"/>
              </a:ext>
            </a:extLst>
          </p:cNvPr>
          <p:cNvSpPr/>
          <p:nvPr/>
        </p:nvSpPr>
        <p:spPr>
          <a:xfrm>
            <a:off x="1820411" y="2581275"/>
            <a:ext cx="3439485" cy="622103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8858A536-B3D5-E4E6-A8A8-3B450D0B9A54}"/>
              </a:ext>
            </a:extLst>
          </p:cNvPr>
          <p:cNvSpPr/>
          <p:nvPr/>
        </p:nvSpPr>
        <p:spPr>
          <a:xfrm>
            <a:off x="5536978" y="5301511"/>
            <a:ext cx="252000" cy="252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6877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494554"/>
              </p:ext>
            </p:extLst>
          </p:nvPr>
        </p:nvGraphicFramePr>
        <p:xfrm>
          <a:off x="540682" y="1755845"/>
          <a:ext cx="8679518" cy="39856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6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9229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20907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draví a bezpečnos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bré pracovní podmínky, odmítání diskriminace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žší spotřeba energie, nižší emi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žší spotřeba vod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ciální vztah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ekvátní odměny zaměstnanc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davatelsko-odběratelské vztahy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ik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odiverzita, nižší znečišťování a odpa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ktová odpovědnos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59856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ístní komunity a lidská prá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092377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áva akcionář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7101333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závislost představenst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832131"/>
                  </a:ext>
                </a:extLst>
              </a:tr>
              <a:tr h="254625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Žádné z uvedených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346854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01285859"/>
              </p:ext>
            </p:extLst>
          </p:nvPr>
        </p:nvGraphicFramePr>
        <p:xfrm>
          <a:off x="3460994" y="1700031"/>
          <a:ext cx="2369356" cy="4041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Firmy se nejčastěji zaměřují na ZDRAVÍ A BEZPEČNOST SPOLEČNĚ </a:t>
            </a:r>
            <a:br>
              <a:rPr lang="cs-CZ" sz="2200" dirty="0"/>
            </a:br>
            <a:r>
              <a:rPr lang="cs-CZ" sz="2200" dirty="0"/>
              <a:t>S DOBRÝMI PRACOVNÍMI PODMÍNKAMI A ODMÍTÁNÍM DISKRIMINACE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émata, na která se firmy zaměřují a uplatňují je ve svém fungování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2. Prosím, vyberte, na která témata se Vaše firma snaží zaměřovat a uplatňovat je ve svém fungování: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EB2FBEA-C589-8A8F-0277-471FFF6E4B55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/>
              <a:t>Statisticky signifikantní </a:t>
            </a: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04D22A30-D717-7D32-CF33-F61907FC75CE}"/>
              </a:ext>
            </a:extLst>
          </p:cNvPr>
          <p:cNvSpPr/>
          <p:nvPr/>
        </p:nvSpPr>
        <p:spPr>
          <a:xfrm>
            <a:off x="7134380" y="3720764"/>
            <a:ext cx="216000" cy="216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270FB96-1635-22B7-AFCF-2C6C571DE7FC}"/>
              </a:ext>
            </a:extLst>
          </p:cNvPr>
          <p:cNvSpPr/>
          <p:nvPr/>
        </p:nvSpPr>
        <p:spPr>
          <a:xfrm>
            <a:off x="540682" y="2135696"/>
            <a:ext cx="4685659" cy="548978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243968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Téměř 60 % firem se alespoň částečně zabývá ESG. Větší firmy se jím zabývají častěji. 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abýváte se ve firmě ESG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790376"/>
            <a:ext cx="10387965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3. Zabýváte se ve firmě ESG (Enviromental, Social, Governance) neboli udržitelností podnikání? Nejedná se pouze o ochranu životního prostředí, ale také o sociální dopady, rovné příležitosti apod.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1415927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191654"/>
              </p:ext>
            </p:extLst>
          </p:nvPr>
        </p:nvGraphicFramePr>
        <p:xfrm>
          <a:off x="6399630" y="1992026"/>
          <a:ext cx="2761474" cy="349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14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+       Ano a Částečně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Částečně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ale plánujeme se tomu věnov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ani se tomu věnovat neplánuje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+        </a:t>
                      </a:r>
                      <a:r>
                        <a:rPr lang="cs-CZ" sz="1100" b="1" i="1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824DFAF5-44FB-735B-C1A4-143F653DE467}"/>
              </a:ext>
            </a:extLst>
          </p:cNvPr>
          <p:cNvSpPr/>
          <p:nvPr/>
        </p:nvSpPr>
        <p:spPr>
          <a:xfrm>
            <a:off x="6291631" y="265433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F9193E44-0198-F1EA-9130-DF5E392C269B}"/>
              </a:ext>
            </a:extLst>
          </p:cNvPr>
          <p:cNvSpPr/>
          <p:nvPr/>
        </p:nvSpPr>
        <p:spPr>
          <a:xfrm>
            <a:off x="6291631" y="3155652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AA6A8318-5D5E-490E-A1DA-8103648DB286}"/>
              </a:ext>
            </a:extLst>
          </p:cNvPr>
          <p:cNvSpPr/>
          <p:nvPr/>
        </p:nvSpPr>
        <p:spPr>
          <a:xfrm>
            <a:off x="6291631" y="3678225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6D014E-2A64-A12B-AEE0-3FD1A7BD2032}"/>
              </a:ext>
            </a:extLst>
          </p:cNvPr>
          <p:cNvSpPr/>
          <p:nvPr/>
        </p:nvSpPr>
        <p:spPr>
          <a:xfrm>
            <a:off x="6291631" y="4211374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1">
            <a:extLst>
              <a:ext uri="{FF2B5EF4-FFF2-40B4-BE49-F238E27FC236}">
                <a16:creationId xmlns:a16="http://schemas.microsoft.com/office/drawing/2014/main" id="{D5D05170-6DA9-C324-7327-DA42DA095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777319"/>
              </p:ext>
            </p:extLst>
          </p:nvPr>
        </p:nvGraphicFramePr>
        <p:xfrm>
          <a:off x="453984" y="2023402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Tabulka 1">
            <a:extLst>
              <a:ext uri="{FF2B5EF4-FFF2-40B4-BE49-F238E27FC236}">
                <a16:creationId xmlns:a16="http://schemas.microsoft.com/office/drawing/2014/main" id="{6453A761-24F9-A9F3-E257-069D8887F5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047329"/>
              </p:ext>
            </p:extLst>
          </p:nvPr>
        </p:nvGraphicFramePr>
        <p:xfrm>
          <a:off x="458257" y="4717493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17AFF621-DD50-1F82-4BAA-06B61F024A36}"/>
              </a:ext>
            </a:extLst>
          </p:cNvPr>
          <p:cNvSpPr/>
          <p:nvPr/>
        </p:nvSpPr>
        <p:spPr>
          <a:xfrm>
            <a:off x="6291631" y="2175468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18465430-EB01-E063-405A-7CDF3D87D4BC}"/>
              </a:ext>
            </a:extLst>
          </p:cNvPr>
          <p:cNvSpPr/>
          <p:nvPr/>
        </p:nvSpPr>
        <p:spPr>
          <a:xfrm>
            <a:off x="6676499" y="2175468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F050602A-9BE9-BA1F-E6D3-D9FAACCC3EEA}"/>
              </a:ext>
            </a:extLst>
          </p:cNvPr>
          <p:cNvSpPr/>
          <p:nvPr/>
        </p:nvSpPr>
        <p:spPr>
          <a:xfrm>
            <a:off x="6291631" y="4696086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A16B2C71-DE2B-C61C-A84C-081F6F75AFD9}"/>
              </a:ext>
            </a:extLst>
          </p:cNvPr>
          <p:cNvSpPr/>
          <p:nvPr/>
        </p:nvSpPr>
        <p:spPr>
          <a:xfrm>
            <a:off x="6676499" y="4696086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E1BEA7D9-4C6B-7387-BDFA-0D212BFE6B97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/>
              <a:t>Statisticky signifikantní </a:t>
            </a:r>
          </a:p>
        </p:txBody>
      </p:sp>
      <p:sp>
        <p:nvSpPr>
          <p:cNvPr id="30" name="Ovál 29">
            <a:extLst>
              <a:ext uri="{FF2B5EF4-FFF2-40B4-BE49-F238E27FC236}">
                <a16:creationId xmlns:a16="http://schemas.microsoft.com/office/drawing/2014/main" id="{4BC9D2F6-A497-1A8B-0A73-7A710B723259}"/>
              </a:ext>
            </a:extLst>
          </p:cNvPr>
          <p:cNvSpPr/>
          <p:nvPr/>
        </p:nvSpPr>
        <p:spPr>
          <a:xfrm>
            <a:off x="2696171" y="1996788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17A4CB98-F531-BEAC-D3F6-42D8C14DCFA6}"/>
              </a:ext>
            </a:extLst>
          </p:cNvPr>
          <p:cNvSpPr/>
          <p:nvPr/>
        </p:nvSpPr>
        <p:spPr>
          <a:xfrm>
            <a:off x="612396" y="1908223"/>
            <a:ext cx="628399" cy="1535109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0033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937192"/>
              </p:ext>
            </p:extLst>
          </p:nvPr>
        </p:nvGraphicFramePr>
        <p:xfrm>
          <a:off x="540682" y="1755843"/>
          <a:ext cx="8594927" cy="3978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2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4110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73102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73102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731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7310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7310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975506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076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Šlo o požadavky klientů, obchodních partner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076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Šlo o požadavky ban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076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Šlo o požadavky v rámci veřejných zakáze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750766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, s tímto požadavkem jsme se nesetkal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4446139"/>
              </p:ext>
            </p:extLst>
          </p:nvPr>
        </p:nvGraphicFramePr>
        <p:xfrm>
          <a:off x="3562071" y="2223083"/>
          <a:ext cx="2092110" cy="4256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VÍCE NEŽ POLOVINA FIREM SE S POŽADAVKEM na plnění cílů esg NESETKALA. NEJČASTĚJI POŽADUJÍ PLNĚNÍ KLIENTI ČI OBCHODNÍ PARTNEŘI. 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809728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Setkání se s požadavky na plnění cílů ESG a od koho iniciativa vzešla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4. Setkala se Vaše firma s požadavkem na plnění cílů ESG? A pokud ano, od koho tato iniciativa vzešla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000134A8-5B69-52C9-48DC-34C9D69BB0A6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/>
              <a:t>Statisticky signifikantní </a:t>
            </a: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B26C30A1-1BD7-BE42-E159-CE6F17C9E879}"/>
              </a:ext>
            </a:extLst>
          </p:cNvPr>
          <p:cNvSpPr/>
          <p:nvPr/>
        </p:nvSpPr>
        <p:spPr>
          <a:xfrm>
            <a:off x="8625236" y="5240406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7EA8C269-FB41-705E-3AD5-810D4CE2D36E}"/>
              </a:ext>
            </a:extLst>
          </p:cNvPr>
          <p:cNvSpPr/>
          <p:nvPr/>
        </p:nvSpPr>
        <p:spPr>
          <a:xfrm>
            <a:off x="5525440" y="5240406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vál 8">
            <a:extLst>
              <a:ext uri="{FF2B5EF4-FFF2-40B4-BE49-F238E27FC236}">
                <a16:creationId xmlns:a16="http://schemas.microsoft.com/office/drawing/2014/main" id="{FD0C23C0-3C62-CE76-DCEC-8494778E3ED4}"/>
              </a:ext>
            </a:extLst>
          </p:cNvPr>
          <p:cNvSpPr/>
          <p:nvPr/>
        </p:nvSpPr>
        <p:spPr>
          <a:xfrm>
            <a:off x="6302599" y="2983598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32DEB2B-A008-65D4-3D7F-D257044017B6}"/>
              </a:ext>
            </a:extLst>
          </p:cNvPr>
          <p:cNvSpPr/>
          <p:nvPr/>
        </p:nvSpPr>
        <p:spPr>
          <a:xfrm>
            <a:off x="572398" y="4991449"/>
            <a:ext cx="4684084" cy="742963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49734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TÉMĚŘ Tři čtvrtiny FIREM PLÁNUJÍ NEJDÉLE V RÁMCI 3 LET VYTVOŘIT PLÁN ČI STRATEGII PRO PŘIJÍMÁNÍ ESG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áte vytvořený plán či strategii pro přijímání ESG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621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5. Máte vytvořený plán či strategii pro přijímání principů ESG v rámci Vaší firmy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98/106/92/76/50/7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44247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3242430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9360120"/>
              </p:ext>
            </p:extLst>
          </p:nvPr>
        </p:nvGraphicFramePr>
        <p:xfrm>
          <a:off x="6399629" y="1765523"/>
          <a:ext cx="3183495" cy="349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3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    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ale plánujeme ho v rámci 1 roku vytvoři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plánujeme ho vytvořit v rámci 3 le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, ani ho vytvořit neplánuje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evím / bez odpověd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824DFAF5-44FB-735B-C1A4-143F653DE467}"/>
              </a:ext>
            </a:extLst>
          </p:cNvPr>
          <p:cNvSpPr/>
          <p:nvPr/>
        </p:nvSpPr>
        <p:spPr>
          <a:xfrm>
            <a:off x="6291631" y="2427832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F9193E44-0198-F1EA-9130-DF5E392C269B}"/>
              </a:ext>
            </a:extLst>
          </p:cNvPr>
          <p:cNvSpPr/>
          <p:nvPr/>
        </p:nvSpPr>
        <p:spPr>
          <a:xfrm>
            <a:off x="6291631" y="2929149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AA6A8318-5D5E-490E-A1DA-8103648DB286}"/>
              </a:ext>
            </a:extLst>
          </p:cNvPr>
          <p:cNvSpPr/>
          <p:nvPr/>
        </p:nvSpPr>
        <p:spPr>
          <a:xfrm>
            <a:off x="6291631" y="3451722"/>
            <a:ext cx="108000" cy="108000"/>
          </a:xfrm>
          <a:prstGeom prst="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6D014E-2A64-A12B-AEE0-3FD1A7BD2032}"/>
              </a:ext>
            </a:extLst>
          </p:cNvPr>
          <p:cNvSpPr/>
          <p:nvPr/>
        </p:nvSpPr>
        <p:spPr>
          <a:xfrm>
            <a:off x="6291631" y="3984871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24">
            <a:extLst>
              <a:ext uri="{FF2B5EF4-FFF2-40B4-BE49-F238E27FC236}">
                <a16:creationId xmlns:a16="http://schemas.microsoft.com/office/drawing/2014/main" id="{6E761636-4DDE-841A-1897-C317B0E11E16}"/>
              </a:ext>
            </a:extLst>
          </p:cNvPr>
          <p:cNvSpPr/>
          <p:nvPr/>
        </p:nvSpPr>
        <p:spPr>
          <a:xfrm>
            <a:off x="6294126" y="4492091"/>
            <a:ext cx="108000" cy="10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A12DC41D-1126-140F-4170-D91A8C3F77D3}"/>
              </a:ext>
            </a:extLst>
          </p:cNvPr>
          <p:cNvSpPr txBox="1"/>
          <p:nvPr/>
        </p:nvSpPr>
        <p:spPr>
          <a:xfrm>
            <a:off x="1310557" y="1463120"/>
            <a:ext cx="43691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(Pouze respondenti, kteří se buď ESG věnují, nebo to alespoň plánují)</a:t>
            </a:r>
          </a:p>
        </p:txBody>
      </p:sp>
      <p:graphicFrame>
        <p:nvGraphicFramePr>
          <p:cNvPr id="3" name="Tabulka 1">
            <a:extLst>
              <a:ext uri="{FF2B5EF4-FFF2-40B4-BE49-F238E27FC236}">
                <a16:creationId xmlns:a16="http://schemas.microsoft.com/office/drawing/2014/main" id="{32C69EE8-B442-32C1-869D-C152BBF52C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282718"/>
              </p:ext>
            </p:extLst>
          </p:nvPr>
        </p:nvGraphicFramePr>
        <p:xfrm>
          <a:off x="453985" y="2023402"/>
          <a:ext cx="6621713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9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  <a:gridCol w="945959">
                  <a:extLst>
                    <a:ext uri="{9D8B030D-6E8A-4147-A177-3AD203B41FA5}">
                      <a16:colId xmlns:a16="http://schemas.microsoft.com/office/drawing/2014/main" val="3337976659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TOP3BOX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Ovál 7">
            <a:extLst>
              <a:ext uri="{FF2B5EF4-FFF2-40B4-BE49-F238E27FC236}">
                <a16:creationId xmlns:a16="http://schemas.microsoft.com/office/drawing/2014/main" id="{DDEB42EB-9DEB-615F-22BE-16871A5FEFEA}"/>
              </a:ext>
            </a:extLst>
          </p:cNvPr>
          <p:cNvSpPr/>
          <p:nvPr/>
        </p:nvSpPr>
        <p:spPr>
          <a:xfrm>
            <a:off x="612396" y="1908223"/>
            <a:ext cx="628399" cy="2140003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65023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POLOVINA FIREM BUĎ PORADCE V OBLASTI ESG VYUŽILA, NEBO TO PLÁNUJE. TÉMĚŘ 4 Z 10 FIREM se rozhodnou až dle náročnosti agendy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Orientujete se v oblasti ESG sami, nebo využíváte odborné poradce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621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6. Orientujete se v oblasti ESG sami, nebo jste využili, či plánujete využít odborné poradce? 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198/106/92/76/50/7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4801313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65DAEA38-3DE6-CD13-478B-CCB32F961B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118004"/>
              </p:ext>
            </p:extLst>
          </p:nvPr>
        </p:nvGraphicFramePr>
        <p:xfrm>
          <a:off x="6265405" y="1765523"/>
          <a:ext cx="3183495" cy="349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34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    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Orientujeme se sam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Využili jsme porad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Plánujeme využít porad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eště nevíme, uvidíme podle náročnosti agend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evím / bez odpověd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</a:tbl>
          </a:graphicData>
        </a:graphic>
      </p:graphicFrame>
      <p:sp>
        <p:nvSpPr>
          <p:cNvPr id="15" name="Rectangle 24">
            <a:extLst>
              <a:ext uri="{FF2B5EF4-FFF2-40B4-BE49-F238E27FC236}">
                <a16:creationId xmlns:a16="http://schemas.microsoft.com/office/drawing/2014/main" id="{573CB6B9-5FA1-CFFC-BB7A-30333BDE1592}"/>
              </a:ext>
            </a:extLst>
          </p:cNvPr>
          <p:cNvSpPr/>
          <p:nvPr/>
        </p:nvSpPr>
        <p:spPr>
          <a:xfrm>
            <a:off x="6157407" y="2427832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A05D34AB-36F2-CE2D-68F3-4DF38CB88CB7}"/>
              </a:ext>
            </a:extLst>
          </p:cNvPr>
          <p:cNvSpPr/>
          <p:nvPr/>
        </p:nvSpPr>
        <p:spPr>
          <a:xfrm>
            <a:off x="6157407" y="2929149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DB2F9B89-3F1E-D447-3A00-2F634D6E037B}"/>
              </a:ext>
            </a:extLst>
          </p:cNvPr>
          <p:cNvSpPr/>
          <p:nvPr/>
        </p:nvSpPr>
        <p:spPr>
          <a:xfrm>
            <a:off x="6157407" y="3451722"/>
            <a:ext cx="108000" cy="108000"/>
          </a:xfrm>
          <a:prstGeom prst="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76433BD0-0070-5A6A-7442-7DE5A74E8C32}"/>
              </a:ext>
            </a:extLst>
          </p:cNvPr>
          <p:cNvSpPr/>
          <p:nvPr/>
        </p:nvSpPr>
        <p:spPr>
          <a:xfrm>
            <a:off x="6157407" y="3984871"/>
            <a:ext cx="108000" cy="108000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4">
            <a:extLst>
              <a:ext uri="{FF2B5EF4-FFF2-40B4-BE49-F238E27FC236}">
                <a16:creationId xmlns:a16="http://schemas.microsoft.com/office/drawing/2014/main" id="{14822AEF-AEDD-7758-0376-EC0F5BC4F28F}"/>
              </a:ext>
            </a:extLst>
          </p:cNvPr>
          <p:cNvSpPr/>
          <p:nvPr/>
        </p:nvSpPr>
        <p:spPr>
          <a:xfrm>
            <a:off x="6159902" y="4492091"/>
            <a:ext cx="108000" cy="10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DA25B428-411F-8394-0A84-760EC24479C7}"/>
              </a:ext>
            </a:extLst>
          </p:cNvPr>
          <p:cNvSpPr txBox="1"/>
          <p:nvPr/>
        </p:nvSpPr>
        <p:spPr>
          <a:xfrm>
            <a:off x="2289908" y="1454431"/>
            <a:ext cx="43691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(Pouze respondenti, kteří se buď ESG věnují, nebo to alespoň plánují)</a:t>
            </a: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6F45C98A-2B46-2334-7756-157852ABC210}"/>
              </a:ext>
            </a:extLst>
          </p:cNvPr>
          <p:cNvSpPr/>
          <p:nvPr/>
        </p:nvSpPr>
        <p:spPr>
          <a:xfrm>
            <a:off x="612396" y="2519054"/>
            <a:ext cx="628399" cy="115917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42C4DA2E-64F3-2D0B-CE53-471242362FC0}"/>
              </a:ext>
            </a:extLst>
          </p:cNvPr>
          <p:cNvSpPr/>
          <p:nvPr/>
        </p:nvSpPr>
        <p:spPr>
          <a:xfrm>
            <a:off x="756405" y="3969167"/>
            <a:ext cx="360000" cy="360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92590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DVĚ TŘETINY FIREM BY UVÍTALY POMOC PARTNERA S TÉMATEM ESG. PODSTATNĚ ČASTĚJI BY TÉTO SLUŽBY VYUŽILY VĚTŠÍ FIRMY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Uvítali byste, kdyby Vám nějaký partner poradil s tématem ESG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621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7. Uvítali byste, kdyby Vám nějaký partner dokázal s tímto tématem poradit? Například zanalyzovat Vaše nefinanční aktivity a navrhnout případná vylepšen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7758835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563242"/>
              </p:ext>
            </p:extLst>
          </p:nvPr>
        </p:nvGraphicFramePr>
        <p:xfrm>
          <a:off x="6399629" y="1992026"/>
          <a:ext cx="2914127" cy="34902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4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+       An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už jsme takových služeb využi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zatím jsme takových služeb nevyužil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b="0" noProof="0" dirty="0">
                        <a:solidFill>
                          <a:srgbClr val="404040"/>
                        </a:solidFill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noProof="0" dirty="0">
                        <a:solidFill>
                          <a:srgbClr val="FF0000"/>
                        </a:solidFill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824DFAF5-44FB-735B-C1A4-143F653DE467}"/>
              </a:ext>
            </a:extLst>
          </p:cNvPr>
          <p:cNvSpPr/>
          <p:nvPr/>
        </p:nvSpPr>
        <p:spPr>
          <a:xfrm>
            <a:off x="6291631" y="265433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F9193E44-0198-F1EA-9130-DF5E392C269B}"/>
              </a:ext>
            </a:extLst>
          </p:cNvPr>
          <p:cNvSpPr/>
          <p:nvPr/>
        </p:nvSpPr>
        <p:spPr>
          <a:xfrm>
            <a:off x="6291631" y="3155652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AA6A8318-5D5E-490E-A1DA-8103648DB286}"/>
              </a:ext>
            </a:extLst>
          </p:cNvPr>
          <p:cNvSpPr/>
          <p:nvPr/>
        </p:nvSpPr>
        <p:spPr>
          <a:xfrm>
            <a:off x="6291631" y="3678225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1">
            <a:extLst>
              <a:ext uri="{FF2B5EF4-FFF2-40B4-BE49-F238E27FC236}">
                <a16:creationId xmlns:a16="http://schemas.microsoft.com/office/drawing/2014/main" id="{D5D05170-6DA9-C324-7327-DA42DA095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29669"/>
              </p:ext>
            </p:extLst>
          </p:nvPr>
        </p:nvGraphicFramePr>
        <p:xfrm>
          <a:off x="453984" y="2023402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17AFF621-DD50-1F82-4BAA-06B61F024A36}"/>
              </a:ext>
            </a:extLst>
          </p:cNvPr>
          <p:cNvSpPr/>
          <p:nvPr/>
        </p:nvSpPr>
        <p:spPr>
          <a:xfrm>
            <a:off x="6291631" y="2175468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18465430-EB01-E063-405A-7CDF3D87D4BC}"/>
              </a:ext>
            </a:extLst>
          </p:cNvPr>
          <p:cNvSpPr/>
          <p:nvPr/>
        </p:nvSpPr>
        <p:spPr>
          <a:xfrm>
            <a:off x="6676499" y="2175468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E1BEA7D9-4C6B-7387-BDFA-0D212BFE6B97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501E2F68-1C14-D743-783F-1CD886298B60}"/>
              </a:ext>
            </a:extLst>
          </p:cNvPr>
          <p:cNvSpPr/>
          <p:nvPr/>
        </p:nvSpPr>
        <p:spPr>
          <a:xfrm>
            <a:off x="2696991" y="2440856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6" name="Ovál 25">
            <a:extLst>
              <a:ext uri="{FF2B5EF4-FFF2-40B4-BE49-F238E27FC236}">
                <a16:creationId xmlns:a16="http://schemas.microsoft.com/office/drawing/2014/main" id="{B4A3CE1A-7ED2-6C91-62B0-E4D982EE9863}"/>
              </a:ext>
            </a:extLst>
          </p:cNvPr>
          <p:cNvSpPr/>
          <p:nvPr/>
        </p:nvSpPr>
        <p:spPr>
          <a:xfrm>
            <a:off x="2696171" y="1996788"/>
            <a:ext cx="252000" cy="252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85E1279E-0D3E-622C-9ED8-A6D3118052CB}"/>
              </a:ext>
            </a:extLst>
          </p:cNvPr>
          <p:cNvSpPr/>
          <p:nvPr/>
        </p:nvSpPr>
        <p:spPr>
          <a:xfrm>
            <a:off x="620785" y="1950168"/>
            <a:ext cx="628399" cy="1535109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28415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291789" cy="701731"/>
          </a:xfrm>
        </p:spPr>
        <p:txBody>
          <a:bodyPr/>
          <a:lstStyle/>
          <a:p>
            <a:r>
              <a:rPr lang="cs-CZ" sz="2200" dirty="0"/>
              <a:t>Většina firem neplánuje investovat do oblasti esg. Větší firmy plánují do této oblasti investovat podstatně častěji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lánujete v oblasti ESG investice v příštích 12 měsících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8. Plánujete v oblasti ESG investice v příštích 12 měsících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900181419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301909584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2853067162"/>
              </p:ext>
            </p:extLst>
          </p:nvPr>
        </p:nvGraphicFramePr>
        <p:xfrm>
          <a:off x="5327183" y="22207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66361411"/>
              </p:ext>
            </p:extLst>
          </p:nvPr>
        </p:nvGraphicFramePr>
        <p:xfrm>
          <a:off x="2878642" y="4013381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2573544812"/>
              </p:ext>
            </p:extLst>
          </p:nvPr>
        </p:nvGraphicFramePr>
        <p:xfrm>
          <a:off x="4515878" y="4013381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639950" y="4693227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, průmys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269734" y="4802126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686031125"/>
              </p:ext>
            </p:extLst>
          </p:nvPr>
        </p:nvGraphicFramePr>
        <p:xfrm>
          <a:off x="6152965" y="4033486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6914273" y="4822231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5" name="Group 178"/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66" name="Freeform 10"/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9D7E75E2-0F94-ACA0-9AD4-D3C8E31495AE}"/>
              </a:ext>
            </a:extLst>
          </p:cNvPr>
          <p:cNvSpPr/>
          <p:nvPr/>
        </p:nvSpPr>
        <p:spPr>
          <a:xfrm>
            <a:off x="4329940" y="3404741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E33EA463-639C-622C-EE9B-7BD05A02C967}"/>
              </a:ext>
            </a:extLst>
          </p:cNvPr>
          <p:cNvSpPr/>
          <p:nvPr/>
        </p:nvSpPr>
        <p:spPr>
          <a:xfrm>
            <a:off x="6799425" y="2874674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2399483B-748B-C12D-C5EC-9195DAE778B9}"/>
              </a:ext>
            </a:extLst>
          </p:cNvPr>
          <p:cNvSpPr/>
          <p:nvPr/>
        </p:nvSpPr>
        <p:spPr>
          <a:xfrm>
            <a:off x="1143243" y="4358394"/>
            <a:ext cx="360000" cy="360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033589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059064"/>
              </p:ext>
            </p:extLst>
          </p:nvPr>
        </p:nvGraphicFramePr>
        <p:xfrm>
          <a:off x="540685" y="1755844"/>
          <a:ext cx="4825659" cy="35304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04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5188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</a:tblGrid>
              <a:tr h="40597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ledování, snižování spotřeby energi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kologické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ykl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T, IT technologie, počítač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lární panel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chnologie obecně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pory, hlídání nákladů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ftwar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ěco jinéh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244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812894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3043523"/>
              </p:ext>
            </p:extLst>
          </p:nvPr>
        </p:nvGraphicFramePr>
        <p:xfrm>
          <a:off x="3478181" y="1699705"/>
          <a:ext cx="3090398" cy="3900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82787" cy="701731"/>
          </a:xfrm>
        </p:spPr>
        <p:txBody>
          <a:bodyPr/>
          <a:lstStyle/>
          <a:p>
            <a:r>
              <a:rPr lang="cs-CZ" sz="2200" dirty="0"/>
              <a:t>Firmy nemají zcela jasno, do čeho investovat. nejčastěji se chtějí zaměřit na sledování spotřeby energií a ekologickou oblast. 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69664" y="1443336"/>
            <a:ext cx="5453989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Oblasti, do kterých firmy plánují investovat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9368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8b. Do jaké oblasti konkrétně plánujete investovat?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75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4B4500F5-F2E8-DE2E-592D-CB691E327510}"/>
              </a:ext>
            </a:extLst>
          </p:cNvPr>
          <p:cNvCxnSpPr>
            <a:cxnSpLocks/>
          </p:cNvCxnSpPr>
          <p:nvPr/>
        </p:nvCxnSpPr>
        <p:spPr>
          <a:xfrm flipV="1">
            <a:off x="5399900" y="4664279"/>
            <a:ext cx="1017678" cy="15261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Řečová bublina: obdélníkový bublinový popisek se zakulacenými rohy 9">
            <a:extLst>
              <a:ext uri="{FF2B5EF4-FFF2-40B4-BE49-F238E27FC236}">
                <a16:creationId xmlns:a16="http://schemas.microsoft.com/office/drawing/2014/main" id="{46E42317-8CAA-539B-AD09-6502E7E2F1C9}"/>
              </a:ext>
            </a:extLst>
          </p:cNvPr>
          <p:cNvSpPr/>
          <p:nvPr/>
        </p:nvSpPr>
        <p:spPr>
          <a:xfrm>
            <a:off x="7090953" y="4427337"/>
            <a:ext cx="1608200" cy="299638"/>
          </a:xfrm>
          <a:prstGeom prst="wedgeRoundRectCallout">
            <a:avLst>
              <a:gd name="adj1" fmla="val -58681"/>
              <a:gd name="adj2" fmla="val 34238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Do vícero segmentů“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29893F0F-E52D-FC3E-F768-92BBBB0CC1B6}"/>
              </a:ext>
            </a:extLst>
          </p:cNvPr>
          <p:cNvSpPr txBox="1"/>
          <p:nvPr/>
        </p:nvSpPr>
        <p:spPr>
          <a:xfrm>
            <a:off x="981170" y="1606597"/>
            <a:ext cx="43691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(Pouze respondenti, kteří v následujících 12 měsících plánují investovat do ESG)</a:t>
            </a:r>
          </a:p>
        </p:txBody>
      </p:sp>
      <p:sp>
        <p:nvSpPr>
          <p:cNvPr id="44" name="Řečová bublina: obdélníkový bublinový popisek se zakulacenými rohy 43">
            <a:extLst>
              <a:ext uri="{FF2B5EF4-FFF2-40B4-BE49-F238E27FC236}">
                <a16:creationId xmlns:a16="http://schemas.microsoft.com/office/drawing/2014/main" id="{7AD839F7-BEED-0620-8174-ACBC47C95768}"/>
              </a:ext>
            </a:extLst>
          </p:cNvPr>
          <p:cNvSpPr/>
          <p:nvPr/>
        </p:nvSpPr>
        <p:spPr>
          <a:xfrm>
            <a:off x="6663708" y="4892022"/>
            <a:ext cx="1640132" cy="295142"/>
          </a:xfrm>
          <a:prstGeom prst="wedgeRoundRectCallout">
            <a:avLst>
              <a:gd name="adj1" fmla="val -59399"/>
              <a:gd name="adj2" fmla="val -41081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Vztahy na pracovišti“</a:t>
            </a:r>
          </a:p>
        </p:txBody>
      </p:sp>
      <p:sp>
        <p:nvSpPr>
          <p:cNvPr id="45" name="Řečová bublina: obdélníkový bublinový popisek se zakulacenými rohy 44">
            <a:extLst>
              <a:ext uri="{FF2B5EF4-FFF2-40B4-BE49-F238E27FC236}">
                <a16:creationId xmlns:a16="http://schemas.microsoft.com/office/drawing/2014/main" id="{2B6685CE-074F-2635-7174-C9F8E8FEA1C7}"/>
              </a:ext>
            </a:extLst>
          </p:cNvPr>
          <p:cNvSpPr/>
          <p:nvPr/>
        </p:nvSpPr>
        <p:spPr>
          <a:xfrm>
            <a:off x="5587661" y="3905538"/>
            <a:ext cx="2118515" cy="418275"/>
          </a:xfrm>
          <a:prstGeom prst="wedgeRoundRectCallout">
            <a:avLst>
              <a:gd name="adj1" fmla="val -3925"/>
              <a:gd name="adj2" fmla="val 79660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Investice do oblasti férového přístupu k zaměstnancům“</a:t>
            </a:r>
          </a:p>
        </p:txBody>
      </p:sp>
      <p:sp>
        <p:nvSpPr>
          <p:cNvPr id="48" name="Řečová bublina: obdélníkový bublinový popisek se zakulacenými rohy 47">
            <a:extLst>
              <a:ext uri="{FF2B5EF4-FFF2-40B4-BE49-F238E27FC236}">
                <a16:creationId xmlns:a16="http://schemas.microsoft.com/office/drawing/2014/main" id="{A84F2853-6D89-4333-5188-9BEFA33138B2}"/>
              </a:ext>
            </a:extLst>
          </p:cNvPr>
          <p:cNvSpPr/>
          <p:nvPr/>
        </p:nvSpPr>
        <p:spPr>
          <a:xfrm>
            <a:off x="7987228" y="3982203"/>
            <a:ext cx="1202235" cy="278333"/>
          </a:xfrm>
          <a:prstGeom prst="wedgeRoundRectCallout">
            <a:avLst>
              <a:gd name="adj1" fmla="val -53797"/>
              <a:gd name="adj2" fmla="val 42059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Sociální sféra“</a:t>
            </a:r>
          </a:p>
        </p:txBody>
      </p:sp>
      <p:sp>
        <p:nvSpPr>
          <p:cNvPr id="49" name="Řečová bublina: obdélníkový bublinový popisek se zakulacenými rohy 48">
            <a:extLst>
              <a:ext uri="{FF2B5EF4-FFF2-40B4-BE49-F238E27FC236}">
                <a16:creationId xmlns:a16="http://schemas.microsoft.com/office/drawing/2014/main" id="{437B9304-13BC-B7CB-421B-6B84593C46F0}"/>
              </a:ext>
            </a:extLst>
          </p:cNvPr>
          <p:cNvSpPr/>
          <p:nvPr/>
        </p:nvSpPr>
        <p:spPr>
          <a:xfrm>
            <a:off x="7863355" y="3457038"/>
            <a:ext cx="1386185" cy="249192"/>
          </a:xfrm>
          <a:prstGeom prst="wedgeRoundRectCallout">
            <a:avLst>
              <a:gd name="adj1" fmla="val -37613"/>
              <a:gd name="adj2" fmla="val 88447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Výrobní proces“</a:t>
            </a:r>
          </a:p>
        </p:txBody>
      </p:sp>
      <p:sp>
        <p:nvSpPr>
          <p:cNvPr id="50" name="Řečová bublina: obdélníkový bublinový popisek se zakulacenými rohy 49">
            <a:extLst>
              <a:ext uri="{FF2B5EF4-FFF2-40B4-BE49-F238E27FC236}">
                <a16:creationId xmlns:a16="http://schemas.microsoft.com/office/drawing/2014/main" id="{0CBE230D-FCFF-9193-013F-1A31CF68F92C}"/>
              </a:ext>
            </a:extLst>
          </p:cNvPr>
          <p:cNvSpPr/>
          <p:nvPr/>
        </p:nvSpPr>
        <p:spPr>
          <a:xfrm>
            <a:off x="6417815" y="3463329"/>
            <a:ext cx="1131030" cy="249193"/>
          </a:xfrm>
          <a:prstGeom prst="wedgeRoundRectCallout">
            <a:avLst>
              <a:gd name="adj1" fmla="val 42492"/>
              <a:gd name="adj2" fmla="val 92358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Do výroby“</a:t>
            </a:r>
          </a:p>
        </p:txBody>
      </p:sp>
      <p:sp>
        <p:nvSpPr>
          <p:cNvPr id="51" name="Řečová bublina: obdélníkový bublinový popisek se zakulacenými rohy 50">
            <a:extLst>
              <a:ext uri="{FF2B5EF4-FFF2-40B4-BE49-F238E27FC236}">
                <a16:creationId xmlns:a16="http://schemas.microsoft.com/office/drawing/2014/main" id="{D91538A1-63A6-695B-6918-0C0B15C70453}"/>
              </a:ext>
            </a:extLst>
          </p:cNvPr>
          <p:cNvSpPr/>
          <p:nvPr/>
        </p:nvSpPr>
        <p:spPr>
          <a:xfrm>
            <a:off x="7276399" y="2993849"/>
            <a:ext cx="676638" cy="249192"/>
          </a:xfrm>
          <a:prstGeom prst="wedgeRoundRectCallout">
            <a:avLst>
              <a:gd name="adj1" fmla="val 8193"/>
              <a:gd name="adj2" fmla="val 96811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EPG“</a:t>
            </a:r>
          </a:p>
        </p:txBody>
      </p:sp>
      <p:sp>
        <p:nvSpPr>
          <p:cNvPr id="52" name="Řečová bublina: obdélníkový bublinový popisek se zakulacenými rohy 51">
            <a:extLst>
              <a:ext uri="{FF2B5EF4-FFF2-40B4-BE49-F238E27FC236}">
                <a16:creationId xmlns:a16="http://schemas.microsoft.com/office/drawing/2014/main" id="{B86A57D4-AF4C-36D2-7F67-E15B55A8291D}"/>
              </a:ext>
            </a:extLst>
          </p:cNvPr>
          <p:cNvSpPr/>
          <p:nvPr/>
        </p:nvSpPr>
        <p:spPr>
          <a:xfrm>
            <a:off x="5751192" y="3062888"/>
            <a:ext cx="1386185" cy="259358"/>
          </a:xfrm>
          <a:prstGeom prst="wedgeRoundRectCallout">
            <a:avLst>
              <a:gd name="adj1" fmla="val -37613"/>
              <a:gd name="adj2" fmla="val 88447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Obalový materiál“</a:t>
            </a:r>
          </a:p>
        </p:txBody>
      </p:sp>
      <p:sp>
        <p:nvSpPr>
          <p:cNvPr id="53" name="Řečová bublina: obdélníkový bublinový popisek se zakulacenými rohy 52">
            <a:extLst>
              <a:ext uri="{FF2B5EF4-FFF2-40B4-BE49-F238E27FC236}">
                <a16:creationId xmlns:a16="http://schemas.microsoft.com/office/drawing/2014/main" id="{692CB0FC-85DD-EDE7-B430-6C32689B9517}"/>
              </a:ext>
            </a:extLst>
          </p:cNvPr>
          <p:cNvSpPr/>
          <p:nvPr/>
        </p:nvSpPr>
        <p:spPr>
          <a:xfrm>
            <a:off x="8071598" y="3062888"/>
            <a:ext cx="1191966" cy="249192"/>
          </a:xfrm>
          <a:prstGeom prst="wedgeRoundRectCallout">
            <a:avLst>
              <a:gd name="adj1" fmla="val -53797"/>
              <a:gd name="adj2" fmla="val 42059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Úprava plateb“</a:t>
            </a:r>
          </a:p>
        </p:txBody>
      </p:sp>
      <p:sp>
        <p:nvSpPr>
          <p:cNvPr id="54" name="Řečová bublina: obdélníkový bublinový popisek se zakulacenými rohy 53">
            <a:extLst>
              <a:ext uri="{FF2B5EF4-FFF2-40B4-BE49-F238E27FC236}">
                <a16:creationId xmlns:a16="http://schemas.microsoft.com/office/drawing/2014/main" id="{BE4B8338-A871-CA8E-04BD-6236D0B543A0}"/>
              </a:ext>
            </a:extLst>
          </p:cNvPr>
          <p:cNvSpPr/>
          <p:nvPr/>
        </p:nvSpPr>
        <p:spPr>
          <a:xfrm>
            <a:off x="7803278" y="2182743"/>
            <a:ext cx="1386185" cy="604172"/>
          </a:xfrm>
          <a:prstGeom prst="wedgeRoundRectCallout">
            <a:avLst>
              <a:gd name="adj1" fmla="val -53797"/>
              <a:gd name="adj2" fmla="val 42059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Víceúčelová pracovní oddělení pro zaměstnance“</a:t>
            </a:r>
          </a:p>
        </p:txBody>
      </p:sp>
      <p:sp>
        <p:nvSpPr>
          <p:cNvPr id="55" name="Řečová bublina: obdélníkový bublinový popisek se zakulacenými rohy 54">
            <a:extLst>
              <a:ext uri="{FF2B5EF4-FFF2-40B4-BE49-F238E27FC236}">
                <a16:creationId xmlns:a16="http://schemas.microsoft.com/office/drawing/2014/main" id="{4C4AE18A-6924-AB23-85A6-84A73FCA83B5}"/>
              </a:ext>
            </a:extLst>
          </p:cNvPr>
          <p:cNvSpPr/>
          <p:nvPr/>
        </p:nvSpPr>
        <p:spPr>
          <a:xfrm>
            <a:off x="5627187" y="2239191"/>
            <a:ext cx="1972059" cy="469096"/>
          </a:xfrm>
          <a:prstGeom prst="wedgeRoundRectCallout">
            <a:avLst>
              <a:gd name="adj1" fmla="val 39875"/>
              <a:gd name="adj2" fmla="val 68651"/>
              <a:gd name="adj3" fmla="val 16667"/>
            </a:avLst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100" dirty="0">
                <a:solidFill>
                  <a:schemeClr val="tx1"/>
                </a:solidFill>
              </a:rPr>
              <a:t>„Požadavky v oblasti společenské odpovědnosti“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641E720D-4FFF-B808-EBF0-1C9A24FD1E28}"/>
              </a:ext>
            </a:extLst>
          </p:cNvPr>
          <p:cNvSpPr/>
          <p:nvPr/>
        </p:nvSpPr>
        <p:spPr>
          <a:xfrm>
            <a:off x="2900994" y="4664278"/>
            <a:ext cx="2456961" cy="621999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542F8E64-F416-5297-6119-011AD3F9351E}"/>
              </a:ext>
            </a:extLst>
          </p:cNvPr>
          <p:cNvSpPr/>
          <p:nvPr/>
        </p:nvSpPr>
        <p:spPr>
          <a:xfrm>
            <a:off x="1350627" y="2174445"/>
            <a:ext cx="4014277" cy="609343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525075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Výzkumné pozadí 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2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8AE5B3A5-4694-4E5C-B611-382143F22DA8}"/>
              </a:ext>
            </a:extLst>
          </p:cNvPr>
          <p:cNvSpPr/>
          <p:nvPr/>
        </p:nvSpPr>
        <p:spPr>
          <a:xfrm>
            <a:off x="1367993" y="1521606"/>
            <a:ext cx="958555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000" b="1" dirty="0">
                <a:solidFill>
                  <a:srgbClr val="ED6737"/>
                </a:solidFill>
              </a:rPr>
              <a:t>Asociace malých a středních podniků a živnostníků ČR </a:t>
            </a:r>
            <a:r>
              <a:rPr lang="cs-CZ" sz="2000" b="1" dirty="0">
                <a:solidFill>
                  <a:schemeClr val="bg1"/>
                </a:solidFill>
              </a:rPr>
              <a:t>sdružuje na otevřené, nepolitické platformě malé a střední podniky a živnostníky i jejich organizace z celé České republiky. Kromě návrhů legislativy se zabývá také tématy jako je export, inovace, financování či vzdělávání. </a:t>
            </a:r>
          </a:p>
          <a:p>
            <a:pPr algn="ctr"/>
            <a:endParaRPr lang="cs-CZ" sz="2000" b="1" dirty="0">
              <a:solidFill>
                <a:schemeClr val="bg1"/>
              </a:solidFill>
            </a:endParaRPr>
          </a:p>
          <a:p>
            <a:pPr algn="ctr"/>
            <a:endParaRPr lang="cs-CZ" sz="2000" b="1" dirty="0">
              <a:solidFill>
                <a:schemeClr val="bg1"/>
              </a:solidFill>
            </a:endParaRPr>
          </a:p>
          <a:p>
            <a:pPr algn="ctr"/>
            <a:r>
              <a:rPr lang="cs-CZ" sz="2000" b="1" dirty="0">
                <a:solidFill>
                  <a:schemeClr val="bg1"/>
                </a:solidFill>
              </a:rPr>
              <a:t>Ve spolupráci se svými partnery AMSP ČR průběžně realizuje projekty cílené </a:t>
            </a:r>
            <a:br>
              <a:rPr lang="cs-CZ" sz="2000" b="1" dirty="0">
                <a:solidFill>
                  <a:schemeClr val="bg1"/>
                </a:solidFill>
              </a:rPr>
            </a:br>
            <a:r>
              <a:rPr lang="cs-CZ" sz="2000" b="1" dirty="0">
                <a:solidFill>
                  <a:schemeClr val="bg1"/>
                </a:solidFill>
              </a:rPr>
              <a:t>na aktuální otázky ve své oblasti působení, podporované výzkumy trhu. </a:t>
            </a:r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547318AC-9AD7-4210-B88E-2F74D8306D0B}"/>
              </a:ext>
            </a:extLst>
          </p:cNvPr>
          <p:cNvSpPr/>
          <p:nvPr/>
        </p:nvSpPr>
        <p:spPr>
          <a:xfrm>
            <a:off x="845820" y="1265789"/>
            <a:ext cx="10629900" cy="3066181"/>
          </a:xfrm>
          <a:prstGeom prst="roundRect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AA8963C-A394-4552-9BCB-490FA6807408}"/>
              </a:ext>
            </a:extLst>
          </p:cNvPr>
          <p:cNvSpPr/>
          <p:nvPr/>
        </p:nvSpPr>
        <p:spPr>
          <a:xfrm>
            <a:off x="2727007" y="4889580"/>
            <a:ext cx="68675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2000" b="1" dirty="0">
                <a:solidFill>
                  <a:schemeClr val="bg1"/>
                </a:solidFill>
              </a:rPr>
              <a:t>Hlavním cílem výzkumu je zjistit, zda-</a:t>
            </a:r>
            <a:r>
              <a:rPr lang="cs-CZ" sz="2000" b="1" dirty="0" err="1">
                <a:solidFill>
                  <a:schemeClr val="bg1"/>
                </a:solidFill>
              </a:rPr>
              <a:t>li</a:t>
            </a:r>
            <a:r>
              <a:rPr lang="cs-CZ" sz="2000" b="1" dirty="0">
                <a:solidFill>
                  <a:schemeClr val="bg1"/>
                </a:solidFill>
              </a:rPr>
              <a:t> a do jaké míry </a:t>
            </a:r>
            <a:r>
              <a:rPr lang="cs-CZ" sz="2000" b="1" dirty="0">
                <a:solidFill>
                  <a:srgbClr val="ED6737"/>
                </a:solidFill>
              </a:rPr>
              <a:t>podniky</a:t>
            </a:r>
            <a:r>
              <a:rPr lang="cs-CZ" sz="2000" b="1" dirty="0">
                <a:solidFill>
                  <a:schemeClr val="bg1"/>
                </a:solidFill>
              </a:rPr>
              <a:t> </a:t>
            </a:r>
            <a:r>
              <a:rPr lang="cs-CZ" sz="2000" b="1" dirty="0">
                <a:solidFill>
                  <a:srgbClr val="ED6737"/>
                </a:solidFill>
              </a:rPr>
              <a:t>implementují principy ESG (</a:t>
            </a:r>
            <a:r>
              <a:rPr lang="cs-CZ" sz="2000" b="1" dirty="0" err="1">
                <a:solidFill>
                  <a:srgbClr val="ED6737"/>
                </a:solidFill>
              </a:rPr>
              <a:t>environmental</a:t>
            </a:r>
            <a:r>
              <a:rPr lang="cs-CZ" sz="2000" b="1" dirty="0">
                <a:solidFill>
                  <a:srgbClr val="ED6737"/>
                </a:solidFill>
              </a:rPr>
              <a:t>, </a:t>
            </a:r>
            <a:r>
              <a:rPr lang="cs-CZ" sz="2000" b="1" dirty="0" err="1">
                <a:solidFill>
                  <a:srgbClr val="ED6737"/>
                </a:solidFill>
              </a:rPr>
              <a:t>social</a:t>
            </a:r>
            <a:r>
              <a:rPr lang="cs-CZ" sz="2000" b="1" dirty="0">
                <a:solidFill>
                  <a:srgbClr val="ED6737"/>
                </a:solidFill>
              </a:rPr>
              <a:t> and </a:t>
            </a:r>
            <a:r>
              <a:rPr lang="cs-CZ" sz="2000" b="1" dirty="0" err="1">
                <a:solidFill>
                  <a:srgbClr val="ED6737"/>
                </a:solidFill>
              </a:rPr>
              <a:t>corporate</a:t>
            </a:r>
            <a:r>
              <a:rPr lang="cs-CZ" sz="2000" b="1" dirty="0">
                <a:solidFill>
                  <a:srgbClr val="ED6737"/>
                </a:solidFill>
              </a:rPr>
              <a:t> </a:t>
            </a:r>
            <a:r>
              <a:rPr lang="cs-CZ" sz="2000" b="1" dirty="0" err="1">
                <a:solidFill>
                  <a:srgbClr val="ED6737"/>
                </a:solidFill>
              </a:rPr>
              <a:t>governance</a:t>
            </a:r>
            <a:r>
              <a:rPr lang="cs-CZ" sz="2000" b="1" dirty="0">
                <a:solidFill>
                  <a:srgbClr val="ED6737"/>
                </a:solidFill>
              </a:rPr>
              <a:t>).</a:t>
            </a:r>
          </a:p>
        </p:txBody>
      </p:sp>
      <p:sp>
        <p:nvSpPr>
          <p:cNvPr id="11" name="Šipka: ohnutá nahoru 10">
            <a:extLst>
              <a:ext uri="{FF2B5EF4-FFF2-40B4-BE49-F238E27FC236}">
                <a16:creationId xmlns:a16="http://schemas.microsoft.com/office/drawing/2014/main" id="{401BBDA6-59D2-4F92-BA59-4933E29CEAE5}"/>
              </a:ext>
            </a:extLst>
          </p:cNvPr>
          <p:cNvSpPr/>
          <p:nvPr/>
        </p:nvSpPr>
        <p:spPr>
          <a:xfrm rot="5400000">
            <a:off x="1322110" y="4715096"/>
            <a:ext cx="799651" cy="707886"/>
          </a:xfrm>
          <a:prstGeom prst="bentUpArrow">
            <a:avLst>
              <a:gd name="adj1" fmla="val 28230"/>
              <a:gd name="adj2" fmla="val 29844"/>
              <a:gd name="adj3" fmla="val 3953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6" name="Obdélník: se zakulacenými rohy 45">
            <a:extLst>
              <a:ext uri="{FF2B5EF4-FFF2-40B4-BE49-F238E27FC236}">
                <a16:creationId xmlns:a16="http://schemas.microsoft.com/office/drawing/2014/main" id="{AF43EDA5-E5A4-40AE-9B03-E7521E1BBDCB}"/>
              </a:ext>
            </a:extLst>
          </p:cNvPr>
          <p:cNvSpPr/>
          <p:nvPr/>
        </p:nvSpPr>
        <p:spPr>
          <a:xfrm>
            <a:off x="2268881" y="4727772"/>
            <a:ext cx="7858100" cy="1284404"/>
          </a:xfrm>
          <a:prstGeom prst="roundRect">
            <a:avLst/>
          </a:prstGeom>
          <a:noFill/>
          <a:ln w="38100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807702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82787" cy="701731"/>
          </a:xfrm>
        </p:spPr>
        <p:txBody>
          <a:bodyPr/>
          <a:lstStyle/>
          <a:p>
            <a:r>
              <a:rPr lang="cs-CZ" sz="2200" dirty="0"/>
              <a:t>Většina Firem, KTERÉ V následujícím roce PLÁNUJÍ INVESTOVAT DO ESG, chce využít dotace. nejčastěji počítají s investicí 100 001 – 250 000 kč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47757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9. V jaké výši plánujete do ESG investovat v následujících 12 měsících? (V Kč) S10. Plánujete v rámci implementace změn plynoucích z ESG využít dotací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</a:t>
            </a:r>
            <a:r>
              <a:rPr lang="cs-CZ" sz="1100" dirty="0">
                <a:solidFill>
                  <a:prstClr val="black"/>
                </a:solidFill>
                <a:latin typeface="Arial"/>
              </a:rPr>
              <a:t>75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19" name="Zástupný symbol pro obsah 6">
            <a:extLst>
              <a:ext uri="{FF2B5EF4-FFF2-40B4-BE49-F238E27FC236}">
                <a16:creationId xmlns:a16="http://schemas.microsoft.com/office/drawing/2014/main" id="{312E124B-58B4-2C07-1F2A-6EACD84672A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82371501"/>
              </p:ext>
            </p:extLst>
          </p:nvPr>
        </p:nvGraphicFramePr>
        <p:xfrm>
          <a:off x="908286" y="1834682"/>
          <a:ext cx="1348058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035341E2-B840-76F3-61F8-9DE8B8AE8607}"/>
              </a:ext>
            </a:extLst>
          </p:cNvPr>
          <p:cNvSpPr txBox="1"/>
          <p:nvPr/>
        </p:nvSpPr>
        <p:spPr>
          <a:xfrm>
            <a:off x="1289229" y="1521832"/>
            <a:ext cx="3130618" cy="361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Arial Black"/>
              </a:rPr>
              <a:t>Výše investic do ESG v následujících 12 měsících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286C3365-EC97-4617-730C-04B3D2F01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329546"/>
              </p:ext>
            </p:extLst>
          </p:nvPr>
        </p:nvGraphicFramePr>
        <p:xfrm>
          <a:off x="2377161" y="2486906"/>
          <a:ext cx="2452541" cy="241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25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Do 100 000 K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</a:rPr>
                        <a:t>V rozmezí 100 001 – 250 000 K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</a:rPr>
                        <a:t>V rozmezí 250 001 – 500 000 K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230577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</a:rPr>
                        <a:t>Nad 500 000 Kč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7144033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</a:rPr>
                        <a:t>Nevím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4191718"/>
                  </a:ext>
                </a:extLst>
              </a:tr>
            </a:tbl>
          </a:graphicData>
        </a:graphic>
      </p:graphicFrame>
      <p:sp>
        <p:nvSpPr>
          <p:cNvPr id="26" name="Rectangle 24">
            <a:extLst>
              <a:ext uri="{FF2B5EF4-FFF2-40B4-BE49-F238E27FC236}">
                <a16:creationId xmlns:a16="http://schemas.microsoft.com/office/drawing/2014/main" id="{526E0074-6AEA-5962-0134-1A31B5F2380C}"/>
              </a:ext>
            </a:extLst>
          </p:cNvPr>
          <p:cNvSpPr/>
          <p:nvPr/>
        </p:nvSpPr>
        <p:spPr>
          <a:xfrm>
            <a:off x="2285939" y="2672873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8ED84139-0144-B74A-9B54-68C01C7D99C3}"/>
              </a:ext>
            </a:extLst>
          </p:cNvPr>
          <p:cNvSpPr/>
          <p:nvPr/>
        </p:nvSpPr>
        <p:spPr>
          <a:xfrm>
            <a:off x="2288084" y="3150599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EB2DED41-9BE3-B30D-3335-9E8ACE30A0E7}"/>
              </a:ext>
            </a:extLst>
          </p:cNvPr>
          <p:cNvSpPr/>
          <p:nvPr/>
        </p:nvSpPr>
        <p:spPr>
          <a:xfrm>
            <a:off x="2285939" y="3636714"/>
            <a:ext cx="108000" cy="10800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D8983C34-799E-CF80-A3CA-EC1DC33C7570}"/>
              </a:ext>
            </a:extLst>
          </p:cNvPr>
          <p:cNvSpPr/>
          <p:nvPr/>
        </p:nvSpPr>
        <p:spPr>
          <a:xfrm>
            <a:off x="2285939" y="4122829"/>
            <a:ext cx="108000" cy="108000"/>
          </a:xfrm>
          <a:prstGeom prst="rect">
            <a:avLst/>
          </a:prstGeom>
          <a:solidFill>
            <a:srgbClr val="84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4">
            <a:extLst>
              <a:ext uri="{FF2B5EF4-FFF2-40B4-BE49-F238E27FC236}">
                <a16:creationId xmlns:a16="http://schemas.microsoft.com/office/drawing/2014/main" id="{2B5634F2-69E1-D629-39C3-EDD4992B5FF4}"/>
              </a:ext>
            </a:extLst>
          </p:cNvPr>
          <p:cNvSpPr/>
          <p:nvPr/>
        </p:nvSpPr>
        <p:spPr>
          <a:xfrm>
            <a:off x="2285939" y="4608944"/>
            <a:ext cx="108000" cy="10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Přímá spojnice 30">
            <a:extLst>
              <a:ext uri="{FF2B5EF4-FFF2-40B4-BE49-F238E27FC236}">
                <a16:creationId xmlns:a16="http://schemas.microsoft.com/office/drawing/2014/main" id="{015B465A-D76E-AC19-AAEB-C8CA972819C6}"/>
              </a:ext>
            </a:extLst>
          </p:cNvPr>
          <p:cNvCxnSpPr/>
          <p:nvPr/>
        </p:nvCxnSpPr>
        <p:spPr>
          <a:xfrm>
            <a:off x="4990682" y="2177537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458A376A-1819-E850-DD64-EFE828DF8A9F}"/>
              </a:ext>
            </a:extLst>
          </p:cNvPr>
          <p:cNvSpPr txBox="1"/>
          <p:nvPr/>
        </p:nvSpPr>
        <p:spPr>
          <a:xfrm>
            <a:off x="5613474" y="1521832"/>
            <a:ext cx="3186999" cy="3615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400" dirty="0">
                <a:solidFill>
                  <a:prstClr val="black"/>
                </a:solidFill>
                <a:latin typeface="Arial Black"/>
              </a:rPr>
              <a:t>Plánujete využít dotace v rámci implementace změn ESG?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A92CD79A-3801-8EF2-10B3-2E80278028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5929612"/>
              </p:ext>
            </p:extLst>
          </p:nvPr>
        </p:nvGraphicFramePr>
        <p:xfrm>
          <a:off x="5950777" y="2218139"/>
          <a:ext cx="252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TextBox 9">
            <a:extLst>
              <a:ext uri="{FF2B5EF4-FFF2-40B4-BE49-F238E27FC236}">
                <a16:creationId xmlns:a16="http://schemas.microsoft.com/office/drawing/2014/main" id="{FF895299-0E7C-C560-9E2B-A2166184A5D6}"/>
              </a:ext>
            </a:extLst>
          </p:cNvPr>
          <p:cNvSpPr txBox="1"/>
          <p:nvPr/>
        </p:nvSpPr>
        <p:spPr>
          <a:xfrm>
            <a:off x="6674612" y="4645102"/>
            <a:ext cx="526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39" name="Rectangle 24">
            <a:extLst>
              <a:ext uri="{FF2B5EF4-FFF2-40B4-BE49-F238E27FC236}">
                <a16:creationId xmlns:a16="http://schemas.microsoft.com/office/drawing/2014/main" id="{AB80A848-8AE2-5278-95F3-62FBA5F2D571}"/>
              </a:ext>
            </a:extLst>
          </p:cNvPr>
          <p:cNvSpPr/>
          <p:nvPr/>
        </p:nvSpPr>
        <p:spPr>
          <a:xfrm>
            <a:off x="6596756" y="4727833"/>
            <a:ext cx="108000" cy="108000"/>
          </a:xfrm>
          <a:prstGeom prst="rect">
            <a:avLst/>
          </a:prstGeom>
          <a:solidFill>
            <a:srgbClr val="002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9">
            <a:extLst>
              <a:ext uri="{FF2B5EF4-FFF2-40B4-BE49-F238E27FC236}">
                <a16:creationId xmlns:a16="http://schemas.microsoft.com/office/drawing/2014/main" id="{9EC93567-B32A-1265-EB59-7E0F16ED3F0C}"/>
              </a:ext>
            </a:extLst>
          </p:cNvPr>
          <p:cNvSpPr txBox="1"/>
          <p:nvPr/>
        </p:nvSpPr>
        <p:spPr>
          <a:xfrm>
            <a:off x="7447451" y="4640101"/>
            <a:ext cx="526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41" name="Rectangle 24">
            <a:extLst>
              <a:ext uri="{FF2B5EF4-FFF2-40B4-BE49-F238E27FC236}">
                <a16:creationId xmlns:a16="http://schemas.microsoft.com/office/drawing/2014/main" id="{5AEFA6B4-AC4F-80B1-3B07-020672C01558}"/>
              </a:ext>
            </a:extLst>
          </p:cNvPr>
          <p:cNvSpPr/>
          <p:nvPr/>
        </p:nvSpPr>
        <p:spPr>
          <a:xfrm>
            <a:off x="7374591" y="4721566"/>
            <a:ext cx="108000" cy="10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TextBox 8">
            <a:extLst>
              <a:ext uri="{FF2B5EF4-FFF2-40B4-BE49-F238E27FC236}">
                <a16:creationId xmlns:a16="http://schemas.microsoft.com/office/drawing/2014/main" id="{A7771269-9BA6-33DE-3F56-2E39DEF241BE}"/>
              </a:ext>
            </a:extLst>
          </p:cNvPr>
          <p:cNvSpPr txBox="1"/>
          <p:nvPr/>
        </p:nvSpPr>
        <p:spPr>
          <a:xfrm>
            <a:off x="6815518" y="3324219"/>
            <a:ext cx="7996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43" name="TextovéPole 42">
            <a:extLst>
              <a:ext uri="{FF2B5EF4-FFF2-40B4-BE49-F238E27FC236}">
                <a16:creationId xmlns:a16="http://schemas.microsoft.com/office/drawing/2014/main" id="{29893F0F-E52D-FC3E-F768-92BBBB0CC1B6}"/>
              </a:ext>
            </a:extLst>
          </p:cNvPr>
          <p:cNvSpPr txBox="1"/>
          <p:nvPr/>
        </p:nvSpPr>
        <p:spPr>
          <a:xfrm>
            <a:off x="2806082" y="1886333"/>
            <a:ext cx="43691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(Pouze respondenti, kteří v následujících 12 měsících plánují investovat do ESG)</a:t>
            </a: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82927A0A-DACE-0D8A-F9E8-9C2573587564}"/>
              </a:ext>
            </a:extLst>
          </p:cNvPr>
          <p:cNvSpPr/>
          <p:nvPr/>
        </p:nvSpPr>
        <p:spPr>
          <a:xfrm>
            <a:off x="1398751" y="3411880"/>
            <a:ext cx="360000" cy="360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71232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486955"/>
              </p:ext>
            </p:extLst>
          </p:nvPr>
        </p:nvGraphicFramePr>
        <p:xfrm>
          <a:off x="540682" y="1755846"/>
          <a:ext cx="8679518" cy="39856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6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9229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20702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jasná návratnost investi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dostatek financ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dostatek informac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ysoká administrati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dostatek interního know-how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zájem obchodních partner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avy ze zhoršení zákaznické situ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dostupnost potřebných řešení či technologi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dostatek nápadů v této oblast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zájem zákazníků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59856"/>
                  </a:ext>
                </a:extLst>
              </a:tr>
              <a:tr h="314996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dpor zaměstnanců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092377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8976321"/>
              </p:ext>
            </p:extLst>
          </p:nvPr>
        </p:nvGraphicFramePr>
        <p:xfrm>
          <a:off x="3531635" y="1813433"/>
          <a:ext cx="2369356" cy="3926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Největšími překážkami při implementaci esg jsou nejasná návratnost investice, nedostatek financí a nedostatek informací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ejvětší překážky v rámci implementace ESG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1. Na jaké největší překážky narážíte v rámci implementace ESG? (Vyberte, prosím, 3 nejvíce zásadní)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EBA53F81-E7EF-131F-2859-469BE7B2EF48}"/>
              </a:ext>
            </a:extLst>
          </p:cNvPr>
          <p:cNvSpPr/>
          <p:nvPr/>
        </p:nvSpPr>
        <p:spPr>
          <a:xfrm>
            <a:off x="1674171" y="2281806"/>
            <a:ext cx="3586438" cy="939879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850206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Více než dvě třetiny firem se domnívají, že buď jsou v rámci </a:t>
            </a:r>
            <a:r>
              <a:rPr lang="cs-CZ" sz="2200" dirty="0" err="1"/>
              <a:t>esg</a:t>
            </a:r>
            <a:r>
              <a:rPr lang="cs-CZ" sz="2200" dirty="0"/>
              <a:t> </a:t>
            </a:r>
            <a:br>
              <a:rPr lang="cs-CZ" sz="2200" dirty="0"/>
            </a:br>
            <a:r>
              <a:rPr lang="cs-CZ" sz="2200" dirty="0"/>
              <a:t>na podobné úrovni jako konkurence, nebo to neumí posoudit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949107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ak hodnotíte vyspělost Vaší firmy v rámci ESG s ohledem na konkurenci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24600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2. Jak hodnotíte vyspělost Vaší firmy v rámci ESG s ohledem na konkurenci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4192028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603907"/>
              </p:ext>
            </p:extLst>
          </p:nvPr>
        </p:nvGraphicFramePr>
        <p:xfrm>
          <a:off x="6399629" y="1992026"/>
          <a:ext cx="2974377" cy="5025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43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+       Jsme lep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sme výrazně lep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sme mírně lep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sme na podobné úrovni jako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Neumíme posoudi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1595715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sme mírně hor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Jsme výrazně hor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9499303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+        </a:t>
                      </a:r>
                      <a:r>
                        <a:rPr lang="cs-CZ" sz="1100" b="1" i="1" noProof="0" dirty="0">
                          <a:solidFill>
                            <a:srgbClr val="FF0000"/>
                          </a:solidFill>
                          <a:sym typeface="Wingdings" panose="05000000000000000000" pitchFamily="2" charset="2"/>
                        </a:rPr>
                        <a:t>Jsme horší než konkur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313678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0" i="0" noProof="0" dirty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384115"/>
                  </a:ext>
                </a:extLst>
              </a:tr>
              <a:tr h="4854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1" i="1" noProof="0" dirty="0">
                        <a:solidFill>
                          <a:srgbClr val="002060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508072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824DFAF5-44FB-735B-C1A4-143F653DE467}"/>
              </a:ext>
            </a:extLst>
          </p:cNvPr>
          <p:cNvSpPr/>
          <p:nvPr/>
        </p:nvSpPr>
        <p:spPr>
          <a:xfrm>
            <a:off x="6291631" y="265433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F9193E44-0198-F1EA-9130-DF5E392C269B}"/>
              </a:ext>
            </a:extLst>
          </p:cNvPr>
          <p:cNvSpPr/>
          <p:nvPr/>
        </p:nvSpPr>
        <p:spPr>
          <a:xfrm>
            <a:off x="6291631" y="3155652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AA6A8318-5D5E-490E-A1DA-8103648DB286}"/>
              </a:ext>
            </a:extLst>
          </p:cNvPr>
          <p:cNvSpPr/>
          <p:nvPr/>
        </p:nvSpPr>
        <p:spPr>
          <a:xfrm>
            <a:off x="6291631" y="3678225"/>
            <a:ext cx="108000" cy="10800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6D014E-2A64-A12B-AEE0-3FD1A7BD2032}"/>
              </a:ext>
            </a:extLst>
          </p:cNvPr>
          <p:cNvSpPr/>
          <p:nvPr/>
        </p:nvSpPr>
        <p:spPr>
          <a:xfrm>
            <a:off x="6291631" y="4739881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1">
            <a:extLst>
              <a:ext uri="{FF2B5EF4-FFF2-40B4-BE49-F238E27FC236}">
                <a16:creationId xmlns:a16="http://schemas.microsoft.com/office/drawing/2014/main" id="{D5D05170-6DA9-C324-7327-DA42DA095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32328"/>
              </p:ext>
            </p:extLst>
          </p:nvPr>
        </p:nvGraphicFramePr>
        <p:xfrm>
          <a:off x="453984" y="2023402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Tabulka 1">
            <a:extLst>
              <a:ext uri="{FF2B5EF4-FFF2-40B4-BE49-F238E27FC236}">
                <a16:creationId xmlns:a16="http://schemas.microsoft.com/office/drawing/2014/main" id="{6453A761-24F9-A9F3-E257-069D8887F5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127566"/>
              </p:ext>
            </p:extLst>
          </p:nvPr>
        </p:nvGraphicFramePr>
        <p:xfrm>
          <a:off x="458257" y="4717493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17AFF621-DD50-1F82-4BAA-06B61F024A36}"/>
              </a:ext>
            </a:extLst>
          </p:cNvPr>
          <p:cNvSpPr/>
          <p:nvPr/>
        </p:nvSpPr>
        <p:spPr>
          <a:xfrm>
            <a:off x="6291631" y="2167079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18465430-EB01-E063-405A-7CDF3D87D4BC}"/>
              </a:ext>
            </a:extLst>
          </p:cNvPr>
          <p:cNvSpPr/>
          <p:nvPr/>
        </p:nvSpPr>
        <p:spPr>
          <a:xfrm>
            <a:off x="6676499" y="2167079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F050602A-9BE9-BA1F-E6D3-D9FAACCC3EEA}"/>
              </a:ext>
            </a:extLst>
          </p:cNvPr>
          <p:cNvSpPr/>
          <p:nvPr/>
        </p:nvSpPr>
        <p:spPr>
          <a:xfrm>
            <a:off x="6291631" y="5744711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4">
            <a:extLst>
              <a:ext uri="{FF2B5EF4-FFF2-40B4-BE49-F238E27FC236}">
                <a16:creationId xmlns:a16="http://schemas.microsoft.com/office/drawing/2014/main" id="{A16B2C71-DE2B-C61C-A84C-081F6F75AFD9}"/>
              </a:ext>
            </a:extLst>
          </p:cNvPr>
          <p:cNvSpPr/>
          <p:nvPr/>
        </p:nvSpPr>
        <p:spPr>
          <a:xfrm>
            <a:off x="6676499" y="5744711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E1BEA7D9-4C6B-7387-BDFA-0D212BFE6B97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26" name="Rectangle 24">
            <a:extLst>
              <a:ext uri="{FF2B5EF4-FFF2-40B4-BE49-F238E27FC236}">
                <a16:creationId xmlns:a16="http://schemas.microsoft.com/office/drawing/2014/main" id="{36046280-796C-5826-CE45-9F38B30E1050}"/>
              </a:ext>
            </a:extLst>
          </p:cNvPr>
          <p:cNvSpPr/>
          <p:nvPr/>
        </p:nvSpPr>
        <p:spPr>
          <a:xfrm>
            <a:off x="6291629" y="5254016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ál 30">
            <a:extLst>
              <a:ext uri="{FF2B5EF4-FFF2-40B4-BE49-F238E27FC236}">
                <a16:creationId xmlns:a16="http://schemas.microsoft.com/office/drawing/2014/main" id="{2D20866C-55DB-7ADD-6FFF-706FE484A636}"/>
              </a:ext>
            </a:extLst>
          </p:cNvPr>
          <p:cNvSpPr/>
          <p:nvPr/>
        </p:nvSpPr>
        <p:spPr>
          <a:xfrm>
            <a:off x="5521014" y="3666464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2" name="Rectangle 24">
            <a:extLst>
              <a:ext uri="{FF2B5EF4-FFF2-40B4-BE49-F238E27FC236}">
                <a16:creationId xmlns:a16="http://schemas.microsoft.com/office/drawing/2014/main" id="{EA370121-322B-8A66-B27A-547CE02CEFAF}"/>
              </a:ext>
            </a:extLst>
          </p:cNvPr>
          <p:cNvSpPr/>
          <p:nvPr/>
        </p:nvSpPr>
        <p:spPr>
          <a:xfrm>
            <a:off x="6295181" y="4205118"/>
            <a:ext cx="108000" cy="1080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ál 29">
            <a:extLst>
              <a:ext uri="{FF2B5EF4-FFF2-40B4-BE49-F238E27FC236}">
                <a16:creationId xmlns:a16="http://schemas.microsoft.com/office/drawing/2014/main" id="{4E8D7D38-FA12-EAB8-44F8-294385F1F056}"/>
              </a:ext>
            </a:extLst>
          </p:cNvPr>
          <p:cNvSpPr/>
          <p:nvPr/>
        </p:nvSpPr>
        <p:spPr>
          <a:xfrm>
            <a:off x="623509" y="2678398"/>
            <a:ext cx="628399" cy="1535109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390753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0530758"/>
              </p:ext>
            </p:extLst>
          </p:nvPr>
        </p:nvGraphicFramePr>
        <p:xfrm>
          <a:off x="540682" y="1755845"/>
          <a:ext cx="8679518" cy="39785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6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9229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81707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pomalilo to ESG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éně zakázek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dražování energi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třeba šetřit, hlídat výdaj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l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ě negativní vli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ově zdražován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éně investic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rychlilo to ESG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ěco jinéh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859856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ovlivnilo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092377"/>
                  </a:ext>
                </a:extLst>
              </a:tr>
              <a:tr h="291405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1504097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5690048"/>
              </p:ext>
            </p:extLst>
          </p:nvPr>
        </p:nvGraphicFramePr>
        <p:xfrm>
          <a:off x="3498079" y="1763098"/>
          <a:ext cx="1879264" cy="3978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Více než 7 z 10 firem udává, že současná společenská situace neměla vliv na jejich přístup k esg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dirty="0">
                <a:solidFill>
                  <a:prstClr val="black"/>
                </a:solidFill>
                <a:latin typeface="Arial Black"/>
              </a:rPr>
              <a:t>Vliv současné společenské situace (válka, inflace) na přístup k ESG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3open. Ovlivnila nějak současná společenská situace (Covid, válka na Ukrajině, inflace) Váš přístup k ESG? Jak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F205BCE7-BD89-67DE-D394-8CF9EFAFC2E9}"/>
              </a:ext>
            </a:extLst>
          </p:cNvPr>
          <p:cNvSpPr/>
          <p:nvPr/>
        </p:nvSpPr>
        <p:spPr>
          <a:xfrm>
            <a:off x="2714625" y="5150840"/>
            <a:ext cx="2545557" cy="290384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408884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3open. Ovlivnila nějak současná společenská situace (Covid, válka na Ukrajině, inflace) Váš přístup k ESG? Jak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30" name="Řečová bublina: obdélníkový bublinový popisek se zakulacenými rohy 29">
            <a:extLst>
              <a:ext uri="{FF2B5EF4-FFF2-40B4-BE49-F238E27FC236}">
                <a16:creationId xmlns:a16="http://schemas.microsoft.com/office/drawing/2014/main" id="{07C892CB-8704-ADE4-0A0D-2E669CD06876}"/>
              </a:ext>
            </a:extLst>
          </p:cNvPr>
          <p:cNvSpPr/>
          <p:nvPr/>
        </p:nvSpPr>
        <p:spPr>
          <a:xfrm>
            <a:off x="3750288" y="151881"/>
            <a:ext cx="1633067" cy="353960"/>
          </a:xfrm>
          <a:prstGeom prst="wedgeRoundRectCallout">
            <a:avLst>
              <a:gd name="adj1" fmla="val 36027"/>
              <a:gd name="adj2" fmla="val 7557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Zpoždění v užívání“</a:t>
            </a:r>
          </a:p>
        </p:txBody>
      </p:sp>
      <p:sp>
        <p:nvSpPr>
          <p:cNvPr id="31" name="Řečová bublina: obdélníkový bublinový popisek se zakulacenými rohy 30">
            <a:extLst>
              <a:ext uri="{FF2B5EF4-FFF2-40B4-BE49-F238E27FC236}">
                <a16:creationId xmlns:a16="http://schemas.microsoft.com/office/drawing/2014/main" id="{FB88DE19-1FA1-3F32-4EA0-93A0B6D66F81}"/>
              </a:ext>
            </a:extLst>
          </p:cNvPr>
          <p:cNvSpPr/>
          <p:nvPr/>
        </p:nvSpPr>
        <p:spPr>
          <a:xfrm>
            <a:off x="226153" y="92569"/>
            <a:ext cx="3405949" cy="1762189"/>
          </a:xfrm>
          <a:prstGeom prst="wedgeRoundRectCallout">
            <a:avLst>
              <a:gd name="adj1" fmla="val 59494"/>
              <a:gd name="adj2" fmla="val 571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Můj názor je, že dnes lidé, živnostníci i firmy řeší existenční problémy a mají jiné starosti než řešit přístup k ESG. Jako zástupce jedné malé české organizace mohu upřímně říct, že je pro mě přednější dát lidem práci, zajistit finance na mzdy a provozní náklady a na drahé moderní technologie v této době buď zapomenout nebo počkat, až nastane příznivější doba pro řešení přístupu k ESG.“</a:t>
            </a:r>
          </a:p>
        </p:txBody>
      </p:sp>
      <p:sp>
        <p:nvSpPr>
          <p:cNvPr id="4" name="Zástupný symbol pro zápatí 2">
            <a:extLst>
              <a:ext uri="{FF2B5EF4-FFF2-40B4-BE49-F238E27FC236}">
                <a16:creationId xmlns:a16="http://schemas.microsoft.com/office/drawing/2014/main" id="{7EDA308A-9A38-65EF-69CF-75084E9BA9A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16" name="Zástupný symbol pro číslo snímku 4">
            <a:extLst>
              <a:ext uri="{FF2B5EF4-FFF2-40B4-BE49-F238E27FC236}">
                <a16:creationId xmlns:a16="http://schemas.microsoft.com/office/drawing/2014/main" id="{C2AA7B81-2B2F-A1C0-6CC7-F749BECC7C1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17" name="Obdélník: se zakulacenými rohy 16">
            <a:extLst>
              <a:ext uri="{FF2B5EF4-FFF2-40B4-BE49-F238E27FC236}">
                <a16:creationId xmlns:a16="http://schemas.microsoft.com/office/drawing/2014/main" id="{251A6E97-CE62-4CFA-4724-8F0B8BA994E5}"/>
              </a:ext>
            </a:extLst>
          </p:cNvPr>
          <p:cNvSpPr/>
          <p:nvPr/>
        </p:nvSpPr>
        <p:spPr>
          <a:xfrm>
            <a:off x="4087547" y="653515"/>
            <a:ext cx="1398613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Zpomalilo to ESG“</a:t>
            </a:r>
          </a:p>
        </p:txBody>
      </p:sp>
      <p:sp>
        <p:nvSpPr>
          <p:cNvPr id="20" name="Obdélník: se zakulacenými rohy 19">
            <a:extLst>
              <a:ext uri="{FF2B5EF4-FFF2-40B4-BE49-F238E27FC236}">
                <a16:creationId xmlns:a16="http://schemas.microsoft.com/office/drawing/2014/main" id="{E821BFBC-12C1-909B-EDF8-EEE833100909}"/>
              </a:ext>
            </a:extLst>
          </p:cNvPr>
          <p:cNvSpPr/>
          <p:nvPr/>
        </p:nvSpPr>
        <p:spPr>
          <a:xfrm>
            <a:off x="6951843" y="282140"/>
            <a:ext cx="1398613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Méně zakázek“</a:t>
            </a:r>
          </a:p>
        </p:txBody>
      </p:sp>
      <p:sp>
        <p:nvSpPr>
          <p:cNvPr id="43" name="Řečová bublina: obdélníkový bublinový popisek se zakulacenými rohy 42">
            <a:extLst>
              <a:ext uri="{FF2B5EF4-FFF2-40B4-BE49-F238E27FC236}">
                <a16:creationId xmlns:a16="http://schemas.microsoft.com/office/drawing/2014/main" id="{DDB3FC9F-3598-C383-0520-B69B7C1AB94D}"/>
              </a:ext>
            </a:extLst>
          </p:cNvPr>
          <p:cNvSpPr/>
          <p:nvPr/>
        </p:nvSpPr>
        <p:spPr>
          <a:xfrm>
            <a:off x="5826766" y="182987"/>
            <a:ext cx="1015261" cy="470527"/>
          </a:xfrm>
          <a:prstGeom prst="wedgeRoundRectCallout">
            <a:avLst>
              <a:gd name="adj1" fmla="val 55858"/>
              <a:gd name="adj2" fmla="val 3278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Snížení poptávky“</a:t>
            </a:r>
          </a:p>
        </p:txBody>
      </p:sp>
      <p:sp>
        <p:nvSpPr>
          <p:cNvPr id="49" name="Řečová bublina: obdélníkový bublinový popisek se zakulacenými rohy 48">
            <a:extLst>
              <a:ext uri="{FF2B5EF4-FFF2-40B4-BE49-F238E27FC236}">
                <a16:creationId xmlns:a16="http://schemas.microsoft.com/office/drawing/2014/main" id="{7DB5BCD4-1853-5311-AF38-E95BE3C92FDB}"/>
              </a:ext>
            </a:extLst>
          </p:cNvPr>
          <p:cNvSpPr/>
          <p:nvPr/>
        </p:nvSpPr>
        <p:spPr>
          <a:xfrm>
            <a:off x="8397877" y="182987"/>
            <a:ext cx="2316870" cy="438646"/>
          </a:xfrm>
          <a:prstGeom prst="wedgeRoundRectCallout">
            <a:avLst>
              <a:gd name="adj1" fmla="val -43993"/>
              <a:gd name="adj2" fmla="val 79401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Covid. Ovlivnil poptávku po službách - tzn. i obrat“</a:t>
            </a:r>
          </a:p>
        </p:txBody>
      </p:sp>
      <p:sp>
        <p:nvSpPr>
          <p:cNvPr id="50" name="Obdélník: se zakulacenými rohy 49">
            <a:extLst>
              <a:ext uri="{FF2B5EF4-FFF2-40B4-BE49-F238E27FC236}">
                <a16:creationId xmlns:a16="http://schemas.microsoft.com/office/drawing/2014/main" id="{91C4B1B7-ED85-59A8-B8BC-7B5D703EA722}"/>
              </a:ext>
            </a:extLst>
          </p:cNvPr>
          <p:cNvSpPr/>
          <p:nvPr/>
        </p:nvSpPr>
        <p:spPr>
          <a:xfrm>
            <a:off x="6947222" y="1888185"/>
            <a:ext cx="1398613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Méně investic“</a:t>
            </a:r>
          </a:p>
        </p:txBody>
      </p:sp>
      <p:sp>
        <p:nvSpPr>
          <p:cNvPr id="52" name="Řečová bublina: obdélníkový bublinový popisek se zakulacenými rohy 51">
            <a:extLst>
              <a:ext uri="{FF2B5EF4-FFF2-40B4-BE49-F238E27FC236}">
                <a16:creationId xmlns:a16="http://schemas.microsoft.com/office/drawing/2014/main" id="{E5F721AB-6B88-9CE6-0659-FAC830567E37}"/>
              </a:ext>
            </a:extLst>
          </p:cNvPr>
          <p:cNvSpPr/>
          <p:nvPr/>
        </p:nvSpPr>
        <p:spPr>
          <a:xfrm>
            <a:off x="5826766" y="1358749"/>
            <a:ext cx="1839262" cy="353960"/>
          </a:xfrm>
          <a:prstGeom prst="wedgeRoundRectCallout">
            <a:avLst>
              <a:gd name="adj1" fmla="val 36483"/>
              <a:gd name="adj2" fmla="val 8268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omezení investic“</a:t>
            </a:r>
          </a:p>
        </p:txBody>
      </p:sp>
      <p:sp>
        <p:nvSpPr>
          <p:cNvPr id="53" name="Řečová bublina: obdélníkový bublinový popisek se zakulacenými rohy 52">
            <a:extLst>
              <a:ext uri="{FF2B5EF4-FFF2-40B4-BE49-F238E27FC236}">
                <a16:creationId xmlns:a16="http://schemas.microsoft.com/office/drawing/2014/main" id="{8011C8B8-2BE5-6B63-5989-F66C6BA81C99}"/>
              </a:ext>
            </a:extLst>
          </p:cNvPr>
          <p:cNvSpPr/>
          <p:nvPr/>
        </p:nvSpPr>
        <p:spPr>
          <a:xfrm>
            <a:off x="8245167" y="1093710"/>
            <a:ext cx="1839262" cy="605836"/>
          </a:xfrm>
          <a:prstGeom prst="wedgeRoundRectCallout">
            <a:avLst>
              <a:gd name="adj1" fmla="val -45615"/>
              <a:gd name="adj2" fmla="val 81329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museli jsme zmrazit investice a prodloužit termíny“</a:t>
            </a:r>
          </a:p>
        </p:txBody>
      </p:sp>
      <p:sp>
        <p:nvSpPr>
          <p:cNvPr id="54" name="Obdélník: se zakulacenými rohy 53">
            <a:extLst>
              <a:ext uri="{FF2B5EF4-FFF2-40B4-BE49-F238E27FC236}">
                <a16:creationId xmlns:a16="http://schemas.microsoft.com/office/drawing/2014/main" id="{809FB8D6-5BFA-8C57-1582-335E4F26A958}"/>
              </a:ext>
            </a:extLst>
          </p:cNvPr>
          <p:cNvSpPr/>
          <p:nvPr/>
        </p:nvSpPr>
        <p:spPr>
          <a:xfrm>
            <a:off x="1128536" y="2648824"/>
            <a:ext cx="1711749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Celkově negativní vliv“</a:t>
            </a:r>
          </a:p>
        </p:txBody>
      </p:sp>
      <p:sp>
        <p:nvSpPr>
          <p:cNvPr id="55" name="Řečová bublina: obdélníkový bublinový popisek se zakulacenými rohy 54">
            <a:extLst>
              <a:ext uri="{FF2B5EF4-FFF2-40B4-BE49-F238E27FC236}">
                <a16:creationId xmlns:a16="http://schemas.microsoft.com/office/drawing/2014/main" id="{A26AD095-3BB2-7D29-7245-4F9ED34F85D1}"/>
              </a:ext>
            </a:extLst>
          </p:cNvPr>
          <p:cNvSpPr/>
          <p:nvPr/>
        </p:nvSpPr>
        <p:spPr>
          <a:xfrm>
            <a:off x="104025" y="2032468"/>
            <a:ext cx="2507430" cy="438646"/>
          </a:xfrm>
          <a:prstGeom prst="wedgeRoundRectCallout">
            <a:avLst>
              <a:gd name="adj1" fmla="val 35634"/>
              <a:gd name="adj2" fmla="val 71751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Celková nejasnost trhu, zhoršení celkové situace v oboru“</a:t>
            </a:r>
          </a:p>
        </p:txBody>
      </p:sp>
      <p:sp>
        <p:nvSpPr>
          <p:cNvPr id="56" name="Řečová bublina: obdélníkový bublinový popisek se zakulacenými rohy 55">
            <a:extLst>
              <a:ext uri="{FF2B5EF4-FFF2-40B4-BE49-F238E27FC236}">
                <a16:creationId xmlns:a16="http://schemas.microsoft.com/office/drawing/2014/main" id="{273F3944-07D7-45EA-8B16-682477759B93}"/>
              </a:ext>
            </a:extLst>
          </p:cNvPr>
          <p:cNvSpPr/>
          <p:nvPr/>
        </p:nvSpPr>
        <p:spPr>
          <a:xfrm>
            <a:off x="2746497" y="2306058"/>
            <a:ext cx="1398613" cy="260114"/>
          </a:xfrm>
          <a:prstGeom prst="wedgeRoundRectCallout">
            <a:avLst>
              <a:gd name="adj1" fmla="val -39942"/>
              <a:gd name="adj2" fmla="val 9110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negativně“</a:t>
            </a:r>
          </a:p>
        </p:txBody>
      </p:sp>
      <p:sp>
        <p:nvSpPr>
          <p:cNvPr id="57" name="Obdélník: se zakulacenými rohy 56">
            <a:extLst>
              <a:ext uri="{FF2B5EF4-FFF2-40B4-BE49-F238E27FC236}">
                <a16:creationId xmlns:a16="http://schemas.microsoft.com/office/drawing/2014/main" id="{1AF70008-A6C8-F98B-CF82-78A908B3A471}"/>
              </a:ext>
            </a:extLst>
          </p:cNvPr>
          <p:cNvSpPr/>
          <p:nvPr/>
        </p:nvSpPr>
        <p:spPr>
          <a:xfrm>
            <a:off x="4701102" y="2616018"/>
            <a:ext cx="1711749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Zdražování energií“</a:t>
            </a:r>
          </a:p>
        </p:txBody>
      </p:sp>
      <p:sp>
        <p:nvSpPr>
          <p:cNvPr id="58" name="Řečová bublina: obdélníkový bublinový popisek se zakulacenými rohy 57">
            <a:extLst>
              <a:ext uri="{FF2B5EF4-FFF2-40B4-BE49-F238E27FC236}">
                <a16:creationId xmlns:a16="http://schemas.microsoft.com/office/drawing/2014/main" id="{C087E6F8-A4A7-7E1B-D340-4A855C683066}"/>
              </a:ext>
            </a:extLst>
          </p:cNvPr>
          <p:cNvSpPr/>
          <p:nvPr/>
        </p:nvSpPr>
        <p:spPr>
          <a:xfrm>
            <a:off x="4581343" y="2200846"/>
            <a:ext cx="1580388" cy="260114"/>
          </a:xfrm>
          <a:prstGeom prst="wedgeRoundRectCallout">
            <a:avLst>
              <a:gd name="adj1" fmla="val 32780"/>
              <a:gd name="adj2" fmla="val 9110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Úspory za energie“</a:t>
            </a:r>
          </a:p>
        </p:txBody>
      </p:sp>
      <p:sp>
        <p:nvSpPr>
          <p:cNvPr id="59" name="Řečová bublina: obdélníkový bublinový popisek se zakulacenými rohy 58">
            <a:extLst>
              <a:ext uri="{FF2B5EF4-FFF2-40B4-BE49-F238E27FC236}">
                <a16:creationId xmlns:a16="http://schemas.microsoft.com/office/drawing/2014/main" id="{20227550-4583-5845-E8F5-5B5F12F0E77C}"/>
              </a:ext>
            </a:extLst>
          </p:cNvPr>
          <p:cNvSpPr/>
          <p:nvPr/>
        </p:nvSpPr>
        <p:spPr>
          <a:xfrm>
            <a:off x="6607571" y="2950668"/>
            <a:ext cx="2145193" cy="436218"/>
          </a:xfrm>
          <a:prstGeom prst="wedgeRoundRectCallout">
            <a:avLst>
              <a:gd name="adj1" fmla="val -55025"/>
              <a:gd name="adj2" fmla="val -4231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zvýšenými náklady na pořízení zboží a energie“</a:t>
            </a:r>
          </a:p>
        </p:txBody>
      </p:sp>
      <p:sp>
        <p:nvSpPr>
          <p:cNvPr id="60" name="Řečová bublina: obdélníkový bublinový popisek se zakulacenými rohy 59">
            <a:extLst>
              <a:ext uri="{FF2B5EF4-FFF2-40B4-BE49-F238E27FC236}">
                <a16:creationId xmlns:a16="http://schemas.microsoft.com/office/drawing/2014/main" id="{F824E545-7A2A-896C-FF55-E2FF4847A989}"/>
              </a:ext>
            </a:extLst>
          </p:cNvPr>
          <p:cNvSpPr/>
          <p:nvPr/>
        </p:nvSpPr>
        <p:spPr>
          <a:xfrm>
            <a:off x="2987708" y="2957090"/>
            <a:ext cx="1580388" cy="260114"/>
          </a:xfrm>
          <a:prstGeom prst="wedgeRoundRectCallout">
            <a:avLst>
              <a:gd name="adj1" fmla="val 56137"/>
              <a:gd name="adj2" fmla="val -1532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Energetická krize“</a:t>
            </a:r>
          </a:p>
        </p:txBody>
      </p:sp>
      <p:sp>
        <p:nvSpPr>
          <p:cNvPr id="61" name="Obdélník: se zakulacenými rohy 60">
            <a:extLst>
              <a:ext uri="{FF2B5EF4-FFF2-40B4-BE49-F238E27FC236}">
                <a16:creationId xmlns:a16="http://schemas.microsoft.com/office/drawing/2014/main" id="{DA938355-83CC-D310-DE32-13E323FED95B}"/>
              </a:ext>
            </a:extLst>
          </p:cNvPr>
          <p:cNvSpPr/>
          <p:nvPr/>
        </p:nvSpPr>
        <p:spPr>
          <a:xfrm>
            <a:off x="699792" y="5017562"/>
            <a:ext cx="1711749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Celkově zdražování“</a:t>
            </a:r>
          </a:p>
        </p:txBody>
      </p:sp>
      <p:sp>
        <p:nvSpPr>
          <p:cNvPr id="62" name="Řečová bublina: obdélníkový bublinový popisek se zakulacenými rohy 61">
            <a:extLst>
              <a:ext uri="{FF2B5EF4-FFF2-40B4-BE49-F238E27FC236}">
                <a16:creationId xmlns:a16="http://schemas.microsoft.com/office/drawing/2014/main" id="{3613DEFF-CF38-79BD-349A-77C2FCBBC5D2}"/>
              </a:ext>
            </a:extLst>
          </p:cNvPr>
          <p:cNvSpPr/>
          <p:nvPr/>
        </p:nvSpPr>
        <p:spPr>
          <a:xfrm>
            <a:off x="58383" y="4576175"/>
            <a:ext cx="1398613" cy="260114"/>
          </a:xfrm>
          <a:prstGeom prst="wedgeRoundRectCallout">
            <a:avLst>
              <a:gd name="adj1" fmla="val 35034"/>
              <a:gd name="adj2" fmla="val 9110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ražší materiál“</a:t>
            </a:r>
          </a:p>
        </p:txBody>
      </p:sp>
      <p:sp>
        <p:nvSpPr>
          <p:cNvPr id="63" name="Řečová bublina: obdélníkový bublinový popisek se zakulacenými rohy 62">
            <a:extLst>
              <a:ext uri="{FF2B5EF4-FFF2-40B4-BE49-F238E27FC236}">
                <a16:creationId xmlns:a16="http://schemas.microsoft.com/office/drawing/2014/main" id="{E54AE810-7369-0A81-E6AE-1C230DD6B3A4}"/>
              </a:ext>
            </a:extLst>
          </p:cNvPr>
          <p:cNvSpPr/>
          <p:nvPr/>
        </p:nvSpPr>
        <p:spPr>
          <a:xfrm>
            <a:off x="2574314" y="5388832"/>
            <a:ext cx="1889705" cy="382925"/>
          </a:xfrm>
          <a:prstGeom prst="wedgeRoundRectCallout">
            <a:avLst>
              <a:gd name="adj1" fmla="val -56293"/>
              <a:gd name="adj2" fmla="val -26909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Určitě ovlivnila, hlavně finančně, vyšší náklady“</a:t>
            </a:r>
          </a:p>
        </p:txBody>
      </p:sp>
      <p:sp>
        <p:nvSpPr>
          <p:cNvPr id="64" name="Obdélník: se zakulacenými rohy 63">
            <a:extLst>
              <a:ext uri="{FF2B5EF4-FFF2-40B4-BE49-F238E27FC236}">
                <a16:creationId xmlns:a16="http://schemas.microsoft.com/office/drawing/2014/main" id="{4C0BC732-02F3-77D8-4B8A-971AD178466F}"/>
              </a:ext>
            </a:extLst>
          </p:cNvPr>
          <p:cNvSpPr/>
          <p:nvPr/>
        </p:nvSpPr>
        <p:spPr>
          <a:xfrm>
            <a:off x="2379289" y="3841004"/>
            <a:ext cx="1398613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Urychlilo to ESG“</a:t>
            </a:r>
          </a:p>
        </p:txBody>
      </p:sp>
      <p:sp>
        <p:nvSpPr>
          <p:cNvPr id="65" name="Řečová bublina: obdélníkový bublinový popisek se zakulacenými rohy 64">
            <a:extLst>
              <a:ext uri="{FF2B5EF4-FFF2-40B4-BE49-F238E27FC236}">
                <a16:creationId xmlns:a16="http://schemas.microsoft.com/office/drawing/2014/main" id="{9F0FEFBA-04A0-5196-C4E3-F28A3CE89B5A}"/>
              </a:ext>
            </a:extLst>
          </p:cNvPr>
          <p:cNvSpPr/>
          <p:nvPr/>
        </p:nvSpPr>
        <p:spPr>
          <a:xfrm>
            <a:off x="303492" y="3898572"/>
            <a:ext cx="1889705" cy="382925"/>
          </a:xfrm>
          <a:prstGeom prst="wedgeRoundRectCallout">
            <a:avLst>
              <a:gd name="adj1" fmla="val 56465"/>
              <a:gd name="adj2" fmla="val 25670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uspíšila uvažování v tomto směru“</a:t>
            </a:r>
          </a:p>
        </p:txBody>
      </p:sp>
      <p:sp>
        <p:nvSpPr>
          <p:cNvPr id="67" name="Obdélník: se zakulacenými rohy 66">
            <a:extLst>
              <a:ext uri="{FF2B5EF4-FFF2-40B4-BE49-F238E27FC236}">
                <a16:creationId xmlns:a16="http://schemas.microsoft.com/office/drawing/2014/main" id="{20824EEA-67F8-DA4C-C903-D6EB8C7EF2C3}"/>
              </a:ext>
            </a:extLst>
          </p:cNvPr>
          <p:cNvSpPr/>
          <p:nvPr/>
        </p:nvSpPr>
        <p:spPr>
          <a:xfrm>
            <a:off x="6078621" y="3707733"/>
            <a:ext cx="1398613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Inflace“</a:t>
            </a:r>
          </a:p>
        </p:txBody>
      </p:sp>
      <p:sp>
        <p:nvSpPr>
          <p:cNvPr id="68" name="Řečová bublina: obdélníkový bublinový popisek se zakulacenými rohy 67">
            <a:extLst>
              <a:ext uri="{FF2B5EF4-FFF2-40B4-BE49-F238E27FC236}">
                <a16:creationId xmlns:a16="http://schemas.microsoft.com/office/drawing/2014/main" id="{88B0E6CD-5339-7198-05D8-F197B35F147F}"/>
              </a:ext>
            </a:extLst>
          </p:cNvPr>
          <p:cNvSpPr/>
          <p:nvPr/>
        </p:nvSpPr>
        <p:spPr>
          <a:xfrm>
            <a:off x="7755638" y="3968510"/>
            <a:ext cx="1365463" cy="408441"/>
          </a:xfrm>
          <a:prstGeom prst="wedgeRoundRectCallout">
            <a:avLst>
              <a:gd name="adj1" fmla="val -61772"/>
              <a:gd name="adj2" fmla="val -3051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Inflace, menší kupní síla“</a:t>
            </a:r>
          </a:p>
        </p:txBody>
      </p:sp>
      <p:sp>
        <p:nvSpPr>
          <p:cNvPr id="69" name="Řečová bublina: obdélníkový bublinový popisek se zakulacenými rohy 68">
            <a:extLst>
              <a:ext uri="{FF2B5EF4-FFF2-40B4-BE49-F238E27FC236}">
                <a16:creationId xmlns:a16="http://schemas.microsoft.com/office/drawing/2014/main" id="{C68761D6-242B-AB01-103D-C071B028FCAE}"/>
              </a:ext>
            </a:extLst>
          </p:cNvPr>
          <p:cNvSpPr/>
          <p:nvPr/>
        </p:nvSpPr>
        <p:spPr>
          <a:xfrm>
            <a:off x="4200084" y="3684856"/>
            <a:ext cx="1629315" cy="832413"/>
          </a:xfrm>
          <a:prstGeom prst="wedgeRoundRectCallout">
            <a:avLst>
              <a:gd name="adj1" fmla="val 60239"/>
              <a:gd name="adj2" fmla="val -515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íky vysoké inflaci a cenám energií nemáme dostatek financí na rozvoj“</a:t>
            </a:r>
          </a:p>
        </p:txBody>
      </p:sp>
      <p:sp>
        <p:nvSpPr>
          <p:cNvPr id="70" name="Obdélník: se zakulacenými rohy 69">
            <a:extLst>
              <a:ext uri="{FF2B5EF4-FFF2-40B4-BE49-F238E27FC236}">
                <a16:creationId xmlns:a16="http://schemas.microsoft.com/office/drawing/2014/main" id="{0D5859A8-85E8-CDCE-148A-B4F80946E473}"/>
              </a:ext>
            </a:extLst>
          </p:cNvPr>
          <p:cNvSpPr/>
          <p:nvPr/>
        </p:nvSpPr>
        <p:spPr>
          <a:xfrm>
            <a:off x="5689283" y="4949219"/>
            <a:ext cx="1824186" cy="780176"/>
          </a:xfrm>
          <a:prstGeom prst="roundRect">
            <a:avLst/>
          </a:pr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/>
              <a:t>„Potřeba šetřit, hlídat výdaje“</a:t>
            </a:r>
          </a:p>
        </p:txBody>
      </p:sp>
      <p:sp>
        <p:nvSpPr>
          <p:cNvPr id="71" name="Řečová bublina: obdélníkový bublinový popisek se zakulacenými rohy 70">
            <a:extLst>
              <a:ext uri="{FF2B5EF4-FFF2-40B4-BE49-F238E27FC236}">
                <a16:creationId xmlns:a16="http://schemas.microsoft.com/office/drawing/2014/main" id="{C325F5AB-FF21-9B06-11C6-33E35E84C951}"/>
              </a:ext>
            </a:extLst>
          </p:cNvPr>
          <p:cNvSpPr/>
          <p:nvPr/>
        </p:nvSpPr>
        <p:spPr>
          <a:xfrm>
            <a:off x="7680168" y="4896964"/>
            <a:ext cx="1629315" cy="832413"/>
          </a:xfrm>
          <a:prstGeom prst="wedgeRoundRectCallout">
            <a:avLst>
              <a:gd name="adj1" fmla="val -57153"/>
              <a:gd name="adj2" fmla="val -1825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musíme víc šetřit a hledat řešení, aby nevzrostly výdaje“</a:t>
            </a:r>
          </a:p>
        </p:txBody>
      </p:sp>
      <p:sp>
        <p:nvSpPr>
          <p:cNvPr id="74" name="Řečová bublina: obdélníkový bublinový popisek se zakulacenými rohy 73">
            <a:extLst>
              <a:ext uri="{FF2B5EF4-FFF2-40B4-BE49-F238E27FC236}">
                <a16:creationId xmlns:a16="http://schemas.microsoft.com/office/drawing/2014/main" id="{610A6601-255D-0B4D-C37A-4A3E0D49087F}"/>
              </a:ext>
            </a:extLst>
          </p:cNvPr>
          <p:cNvSpPr/>
          <p:nvPr/>
        </p:nvSpPr>
        <p:spPr>
          <a:xfrm>
            <a:off x="2820727" y="4737651"/>
            <a:ext cx="2298747" cy="450856"/>
          </a:xfrm>
          <a:prstGeom prst="wedgeRoundRectCallout">
            <a:avLst>
              <a:gd name="adj1" fmla="val -39418"/>
              <a:gd name="adj2" fmla="val -6994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no, dáváme na to větší důraz a přemýšlíme o tom“</a:t>
            </a:r>
          </a:p>
        </p:txBody>
      </p:sp>
    </p:spTree>
    <p:extLst>
      <p:ext uri="{BB962C8B-B14F-4D97-AF65-F5344CB8AC3E}">
        <p14:creationId xmlns:p14="http://schemas.microsoft.com/office/powerpoint/2010/main" val="1176282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03225"/>
            <a:ext cx="10291789" cy="701731"/>
          </a:xfrm>
        </p:spPr>
        <p:txBody>
          <a:bodyPr/>
          <a:lstStyle/>
          <a:p>
            <a:r>
              <a:rPr lang="cs-CZ" sz="2200" dirty="0"/>
              <a:t>3 ZE 4 FIREM NEVÍ, ŽE OD ROKU 2026 BUDE POVINNÉ VYKAZOVAT ESG REPORT. VĚTŠÍ FIRMY JSOU s tímto faktem OBEZNÁMENY ČASTĚJI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397595"/>
            <a:ext cx="11619602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íte, že od roku 2026 bude povinné vykazovat ESG report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38543"/>
            <a:ext cx="11403782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4. Víte, že od roku 2026 bude pro malé a střední podniky povinné vykazovat nefinanční reporting Vašeho podnikání (tzv. ESG report?)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653100455"/>
              </p:ext>
            </p:extLst>
          </p:nvPr>
        </p:nvGraphicFramePr>
        <p:xfrm>
          <a:off x="454288" y="2515878"/>
          <a:ext cx="3127112" cy="299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440569908"/>
              </p:ext>
            </p:extLst>
          </p:nvPr>
        </p:nvGraphicFramePr>
        <p:xfrm>
          <a:off x="3629165" y="223981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1348309761"/>
              </p:ext>
            </p:extLst>
          </p:nvPr>
        </p:nvGraphicFramePr>
        <p:xfrm>
          <a:off x="5327183" y="2220767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540613" y="3826374"/>
            <a:ext cx="1102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em</a:t>
            </a:r>
          </a:p>
        </p:txBody>
      </p:sp>
      <p:sp>
        <p:nvSpPr>
          <p:cNvPr id="7" name="Rectangle 6"/>
          <p:cNvSpPr/>
          <p:nvPr/>
        </p:nvSpPr>
        <p:spPr>
          <a:xfrm>
            <a:off x="4005469" y="1730222"/>
            <a:ext cx="166591" cy="18288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7184" y="1655009"/>
            <a:ext cx="5267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o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713891" y="1737842"/>
            <a:ext cx="175260" cy="17526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43944" y="1653803"/>
            <a:ext cx="602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383096" y="287467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49 zaměstnanců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077706" y="2855624"/>
            <a:ext cx="76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-249 zaměstnanců</a:t>
            </a: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974144249"/>
              </p:ext>
            </p:extLst>
          </p:nvPr>
        </p:nvGraphicFramePr>
        <p:xfrm>
          <a:off x="2878642" y="4013381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val="176458116"/>
              </p:ext>
            </p:extLst>
          </p:nvPr>
        </p:nvGraphicFramePr>
        <p:xfrm>
          <a:off x="4515878" y="4013381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3639950" y="4693227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ýroba, průmys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269734" y="4802126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chod</a:t>
            </a:r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340217247"/>
              </p:ext>
            </p:extLst>
          </p:nvPr>
        </p:nvGraphicFramePr>
        <p:xfrm>
          <a:off x="6152965" y="4033486"/>
          <a:ext cx="2269862" cy="182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6914273" y="4822231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lužby</a:t>
            </a:r>
          </a:p>
        </p:txBody>
      </p: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7062087" y="3698776"/>
            <a:ext cx="191971" cy="264358"/>
            <a:chOff x="2909562" y="1125538"/>
            <a:chExt cx="522847" cy="720000"/>
          </a:xfrm>
          <a:solidFill>
            <a:schemeClr val="bg1"/>
          </a:solidFill>
        </p:grpSpPr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2909562" y="1273403"/>
              <a:ext cx="522847" cy="572135"/>
            </a:xfrm>
            <a:custGeom>
              <a:avLst/>
              <a:gdLst/>
              <a:ahLst/>
              <a:cxnLst>
                <a:cxn ang="0">
                  <a:pos x="1629" y="16"/>
                </a:cxn>
                <a:cxn ang="0">
                  <a:pos x="1591" y="0"/>
                </a:cxn>
                <a:cxn ang="0">
                  <a:pos x="1320" y="0"/>
                </a:cxn>
                <a:cxn ang="0">
                  <a:pos x="1177" y="0"/>
                </a:cxn>
                <a:cxn ang="0">
                  <a:pos x="906" y="0"/>
                </a:cxn>
                <a:cxn ang="0">
                  <a:pos x="868" y="16"/>
                </a:cxn>
                <a:cxn ang="0">
                  <a:pos x="0" y="1306"/>
                </a:cxn>
                <a:cxn ang="0">
                  <a:pos x="2497" y="1306"/>
                </a:cxn>
                <a:cxn ang="0">
                  <a:pos x="1629" y="16"/>
                </a:cxn>
              </a:cxnLst>
              <a:rect l="0" t="0" r="r" b="b"/>
              <a:pathLst>
                <a:path w="2497" h="2732">
                  <a:moveTo>
                    <a:pt x="1629" y="16"/>
                  </a:moveTo>
                  <a:cubicBezTo>
                    <a:pt x="1619" y="6"/>
                    <a:pt x="1605" y="0"/>
                    <a:pt x="1591" y="0"/>
                  </a:cubicBezTo>
                  <a:cubicBezTo>
                    <a:pt x="1471" y="0"/>
                    <a:pt x="1383" y="0"/>
                    <a:pt x="1320" y="0"/>
                  </a:cubicBezTo>
                  <a:cubicBezTo>
                    <a:pt x="1214" y="0"/>
                    <a:pt x="1178" y="0"/>
                    <a:pt x="1177" y="0"/>
                  </a:cubicBezTo>
                  <a:cubicBezTo>
                    <a:pt x="1114" y="0"/>
                    <a:pt x="1026" y="0"/>
                    <a:pt x="906" y="0"/>
                  </a:cubicBezTo>
                  <a:cubicBezTo>
                    <a:pt x="891" y="0"/>
                    <a:pt x="878" y="6"/>
                    <a:pt x="868" y="16"/>
                  </a:cubicBezTo>
                  <a:cubicBezTo>
                    <a:pt x="509" y="399"/>
                    <a:pt x="0" y="795"/>
                    <a:pt x="0" y="1306"/>
                  </a:cubicBezTo>
                  <a:cubicBezTo>
                    <a:pt x="0" y="2732"/>
                    <a:pt x="2497" y="2732"/>
                    <a:pt x="2497" y="1306"/>
                  </a:cubicBezTo>
                  <a:cubicBezTo>
                    <a:pt x="2497" y="795"/>
                    <a:pt x="1987" y="399"/>
                    <a:pt x="1629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65" name="Group 178"/>
            <p:cNvGrpSpPr/>
            <p:nvPr/>
          </p:nvGrpSpPr>
          <p:grpSpPr>
            <a:xfrm>
              <a:off x="3048385" y="1125538"/>
              <a:ext cx="238907" cy="154957"/>
              <a:chOff x="3103573" y="2217630"/>
              <a:chExt cx="333884" cy="216560"/>
            </a:xfrm>
            <a:grpFill/>
          </p:grpSpPr>
          <p:sp>
            <p:nvSpPr>
              <p:cNvPr id="66" name="Freeform 10"/>
              <p:cNvSpPr>
                <a:spLocks/>
              </p:cNvSpPr>
              <p:nvPr/>
            </p:nvSpPr>
            <p:spPr bwMode="auto">
              <a:xfrm>
                <a:off x="3111378" y="2217630"/>
                <a:ext cx="326079" cy="140491"/>
              </a:xfrm>
              <a:custGeom>
                <a:avLst/>
                <a:gdLst/>
                <a:ahLst/>
                <a:cxnLst>
                  <a:cxn ang="0">
                    <a:pos x="185" y="457"/>
                  </a:cxn>
                  <a:cxn ang="0">
                    <a:pos x="224" y="480"/>
                  </a:cxn>
                  <a:cxn ang="0">
                    <a:pos x="893" y="480"/>
                  </a:cxn>
                  <a:cxn ang="0">
                    <a:pos x="931" y="457"/>
                  </a:cxn>
                  <a:cxn ang="0">
                    <a:pos x="1096" y="213"/>
                  </a:cxn>
                  <a:cxn ang="0">
                    <a:pos x="1107" y="129"/>
                  </a:cxn>
                  <a:cxn ang="0">
                    <a:pos x="606" y="65"/>
                  </a:cxn>
                  <a:cxn ang="0">
                    <a:pos x="470" y="61"/>
                  </a:cxn>
                  <a:cxn ang="0">
                    <a:pos x="10" y="129"/>
                  </a:cxn>
                  <a:cxn ang="0">
                    <a:pos x="20" y="213"/>
                  </a:cxn>
                  <a:cxn ang="0">
                    <a:pos x="185" y="457"/>
                  </a:cxn>
                </a:cxnLst>
                <a:rect l="0" t="0" r="r" b="b"/>
                <a:pathLst>
                  <a:path w="1114" h="480">
                    <a:moveTo>
                      <a:pt x="185" y="457"/>
                    </a:moveTo>
                    <a:cubicBezTo>
                      <a:pt x="195" y="472"/>
                      <a:pt x="209" y="480"/>
                      <a:pt x="224" y="480"/>
                    </a:cubicBezTo>
                    <a:cubicBezTo>
                      <a:pt x="893" y="480"/>
                      <a:pt x="893" y="480"/>
                      <a:pt x="893" y="480"/>
                    </a:cubicBezTo>
                    <a:cubicBezTo>
                      <a:pt x="908" y="480"/>
                      <a:pt x="921" y="472"/>
                      <a:pt x="931" y="457"/>
                    </a:cubicBezTo>
                    <a:cubicBezTo>
                      <a:pt x="983" y="382"/>
                      <a:pt x="1038" y="301"/>
                      <a:pt x="1096" y="213"/>
                    </a:cubicBezTo>
                    <a:cubicBezTo>
                      <a:pt x="1111" y="191"/>
                      <a:pt x="1114" y="158"/>
                      <a:pt x="1107" y="129"/>
                    </a:cubicBezTo>
                    <a:cubicBezTo>
                      <a:pt x="1077" y="0"/>
                      <a:pt x="802" y="22"/>
                      <a:pt x="606" y="65"/>
                    </a:cubicBezTo>
                    <a:cubicBezTo>
                      <a:pt x="560" y="74"/>
                      <a:pt x="514" y="73"/>
                      <a:pt x="470" y="61"/>
                    </a:cubicBezTo>
                    <a:cubicBezTo>
                      <a:pt x="293" y="12"/>
                      <a:pt x="50" y="14"/>
                      <a:pt x="10" y="129"/>
                    </a:cubicBezTo>
                    <a:cubicBezTo>
                      <a:pt x="0" y="157"/>
                      <a:pt x="5" y="191"/>
                      <a:pt x="20" y="213"/>
                    </a:cubicBezTo>
                    <a:cubicBezTo>
                      <a:pt x="79" y="301"/>
                      <a:pt x="134" y="382"/>
                      <a:pt x="185" y="45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7" name="Freeform 12"/>
              <p:cNvSpPr>
                <a:spLocks/>
              </p:cNvSpPr>
              <p:nvPr/>
            </p:nvSpPr>
            <p:spPr bwMode="auto">
              <a:xfrm>
                <a:off x="3103573" y="2343874"/>
                <a:ext cx="288540" cy="90316"/>
              </a:xfrm>
              <a:custGeom>
                <a:avLst/>
                <a:gdLst/>
                <a:ahLst/>
                <a:cxnLst>
                  <a:cxn ang="0">
                    <a:pos x="9" y="280"/>
                  </a:cxn>
                  <a:cxn ang="0">
                    <a:pos x="61" y="300"/>
                  </a:cxn>
                  <a:cxn ang="0">
                    <a:pos x="260" y="213"/>
                  </a:cxn>
                  <a:cxn ang="0">
                    <a:pos x="927" y="213"/>
                  </a:cxn>
                  <a:cxn ang="0">
                    <a:pos x="986" y="154"/>
                  </a:cxn>
                  <a:cxn ang="0">
                    <a:pos x="927" y="96"/>
                  </a:cxn>
                  <a:cxn ang="0">
                    <a:pos x="260" y="96"/>
                  </a:cxn>
                  <a:cxn ang="0">
                    <a:pos x="61" y="9"/>
                  </a:cxn>
                  <a:cxn ang="0">
                    <a:pos x="9" y="29"/>
                  </a:cxn>
                  <a:cxn ang="0">
                    <a:pos x="29" y="82"/>
                  </a:cxn>
                  <a:cxn ang="0">
                    <a:pos x="192" y="154"/>
                  </a:cxn>
                  <a:cxn ang="0">
                    <a:pos x="192" y="154"/>
                  </a:cxn>
                  <a:cxn ang="0">
                    <a:pos x="192" y="155"/>
                  </a:cxn>
                  <a:cxn ang="0">
                    <a:pos x="29" y="227"/>
                  </a:cxn>
                  <a:cxn ang="0">
                    <a:pos x="9" y="280"/>
                  </a:cxn>
                </a:cxnLst>
                <a:rect l="0" t="0" r="r" b="b"/>
                <a:pathLst>
                  <a:path w="986" h="309">
                    <a:moveTo>
                      <a:pt x="9" y="280"/>
                    </a:moveTo>
                    <a:cubicBezTo>
                      <a:pt x="18" y="300"/>
                      <a:pt x="41" y="309"/>
                      <a:pt x="61" y="300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927" y="213"/>
                      <a:pt x="927" y="213"/>
                      <a:pt x="927" y="213"/>
                    </a:cubicBezTo>
                    <a:cubicBezTo>
                      <a:pt x="960" y="213"/>
                      <a:pt x="986" y="187"/>
                      <a:pt x="986" y="154"/>
                    </a:cubicBezTo>
                    <a:cubicBezTo>
                      <a:pt x="986" y="122"/>
                      <a:pt x="960" y="96"/>
                      <a:pt x="927" y="96"/>
                    </a:cubicBezTo>
                    <a:cubicBezTo>
                      <a:pt x="260" y="96"/>
                      <a:pt x="260" y="96"/>
                      <a:pt x="260" y="96"/>
                    </a:cubicBezTo>
                    <a:cubicBezTo>
                      <a:pt x="61" y="9"/>
                      <a:pt x="61" y="9"/>
                      <a:pt x="61" y="9"/>
                    </a:cubicBezTo>
                    <a:cubicBezTo>
                      <a:pt x="41" y="0"/>
                      <a:pt x="18" y="9"/>
                      <a:pt x="9" y="29"/>
                    </a:cubicBezTo>
                    <a:cubicBezTo>
                      <a:pt x="0" y="49"/>
                      <a:pt x="9" y="73"/>
                      <a:pt x="29" y="82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4"/>
                      <a:pt x="192" y="154"/>
                      <a:pt x="192" y="154"/>
                    </a:cubicBezTo>
                    <a:cubicBezTo>
                      <a:pt x="192" y="155"/>
                      <a:pt x="192" y="155"/>
                      <a:pt x="192" y="155"/>
                    </a:cubicBezTo>
                    <a:cubicBezTo>
                      <a:pt x="29" y="227"/>
                      <a:pt x="29" y="227"/>
                      <a:pt x="29" y="227"/>
                    </a:cubicBezTo>
                    <a:cubicBezTo>
                      <a:pt x="9" y="236"/>
                      <a:pt x="0" y="259"/>
                      <a:pt x="9" y="28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" name="Zástupný symbol pro zápatí 2">
            <a:extLst>
              <a:ext uri="{FF2B5EF4-FFF2-40B4-BE49-F238E27FC236}">
                <a16:creationId xmlns:a16="http://schemas.microsoft.com/office/drawing/2014/main" id="{AC696590-8929-E4DB-BAC7-33EAF70E00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C8C29D9-8ACE-104E-F21D-F63DA1CF8030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EED9284B-8351-DF40-8971-B0BFC4F113E7}"/>
              </a:ext>
            </a:extLst>
          </p:cNvPr>
          <p:cNvSpPr/>
          <p:nvPr/>
        </p:nvSpPr>
        <p:spPr>
          <a:xfrm>
            <a:off x="6916807" y="5244771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FAE32AB4-F24B-D045-4C55-39246AF2DD75}"/>
              </a:ext>
            </a:extLst>
          </p:cNvPr>
          <p:cNvSpPr/>
          <p:nvPr/>
        </p:nvSpPr>
        <p:spPr>
          <a:xfrm>
            <a:off x="4383096" y="3440070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8" name="Ovál 17">
            <a:extLst>
              <a:ext uri="{FF2B5EF4-FFF2-40B4-BE49-F238E27FC236}">
                <a16:creationId xmlns:a16="http://schemas.microsoft.com/office/drawing/2014/main" id="{812BE1F4-1876-60A1-4393-7340D8951FB7}"/>
              </a:ext>
            </a:extLst>
          </p:cNvPr>
          <p:cNvSpPr/>
          <p:nvPr/>
        </p:nvSpPr>
        <p:spPr>
          <a:xfrm>
            <a:off x="6779561" y="2822979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578361E3-A0FA-B11F-0CD3-D0840286D46A}"/>
              </a:ext>
            </a:extLst>
          </p:cNvPr>
          <p:cNvSpPr/>
          <p:nvPr/>
        </p:nvSpPr>
        <p:spPr>
          <a:xfrm>
            <a:off x="1216388" y="4434645"/>
            <a:ext cx="360000" cy="360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342522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4793380"/>
              </p:ext>
            </p:extLst>
          </p:nvPr>
        </p:nvGraphicFramePr>
        <p:xfrm>
          <a:off x="540682" y="1755844"/>
          <a:ext cx="8679518" cy="3796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112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4987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9441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b"/>
                      <a:r>
                        <a:rPr lang="cs-CZ" sz="10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dpora kulturních akcí (den obce, ples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zvoj sportovních či školských aktivit formou sponzoringu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výhodněné služby, produkty pro místní obyvatel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remní dobrovolnictv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Spolu)financování obecních projektů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ipendijní program pro nadané sportovce, studenty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473">
                <a:tc>
                  <a:txBody>
                    <a:bodyPr/>
                    <a:lstStyle/>
                    <a:p>
                      <a:pPr algn="r" fontAlgn="ctr"/>
                      <a:r>
                        <a:rPr lang="pl-PL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ijak do rozvoje místní komunity zapojeni nejsm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5155973"/>
              </p:ext>
            </p:extLst>
          </p:nvPr>
        </p:nvGraphicFramePr>
        <p:xfrm>
          <a:off x="3901759" y="1908623"/>
          <a:ext cx="2236186" cy="366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FIRMY NEJČASTĚJI PODPORUJÍ KULTURNÍ AKCE A PODÍLEJÍ SE NA ROZVOJI SPORTOVNÍCH ČI ŠKOLSKÝCH AKTIVIT FORMOU SPONZORINGU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Způsoby, jakými jsou firmy zapojeny do rozvoje místní komunity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5. Jakým způsobem je Vaše společnost zapojena do rozvoje místní komunity? Prosím, uveďte oblast.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BCB5E510-CCBC-E4EC-C019-0FE90FFA454A}"/>
              </a:ext>
            </a:extLst>
          </p:cNvPr>
          <p:cNvSpPr/>
          <p:nvPr/>
        </p:nvSpPr>
        <p:spPr>
          <a:xfrm>
            <a:off x="485774" y="2357438"/>
            <a:ext cx="4776790" cy="904874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501012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1853390"/>
              </p:ext>
            </p:extLst>
          </p:nvPr>
        </p:nvGraphicFramePr>
        <p:xfrm>
          <a:off x="540682" y="1755844"/>
          <a:ext cx="8679518" cy="39599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43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51883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53295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nížení spotřeby energií, vody atd.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nížení uhlíkové stopy, snížení emisí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karbonizac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yklace, nakládání s odpade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elená energie, solární panely, obnovitelné zdroj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ěco jiného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ic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827">
                <a:tc>
                  <a:txBody>
                    <a:bodyPr/>
                    <a:lstStyle/>
                    <a:p>
                      <a:pPr algn="r" fontAlgn="ctr"/>
                      <a:r>
                        <a:rPr lang="cs-CZ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ví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49288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5524535"/>
              </p:ext>
            </p:extLst>
          </p:nvPr>
        </p:nvGraphicFramePr>
        <p:xfrm>
          <a:off x="3303343" y="1846990"/>
          <a:ext cx="3139402" cy="3868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387965" cy="701731"/>
          </a:xfrm>
        </p:spPr>
        <p:txBody>
          <a:bodyPr/>
          <a:lstStyle/>
          <a:p>
            <a:r>
              <a:rPr lang="cs-CZ" sz="2200" dirty="0"/>
              <a:t>Téměř tři čtvrtiny firem nebudou řešit něco konkrétního v rámci esg. Ostatní se zaměří na snížení spotřeby energií či vody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Úkoly související s ESG, které budou firmy řešit tento rok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6open. Jaký konkrétní úkol týkající se ESG budete řešit tento rok? (Jestliže nějaký takový existuje, např. dekarbonizace)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</a:t>
            </a:r>
            <a:r>
              <a:rPr lang="cs-CZ" dirty="0">
                <a:solidFill>
                  <a:srgbClr val="405A9C">
                    <a:lumMod val="75000"/>
                  </a:srgbClr>
                </a:solidFill>
                <a:latin typeface="Arial"/>
              </a:rPr>
              <a:t>02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A0D37A5-68F8-8382-6AF3-6A479D8AE475}"/>
              </a:ext>
            </a:extLst>
          </p:cNvPr>
          <p:cNvSpPr/>
          <p:nvPr/>
        </p:nvSpPr>
        <p:spPr>
          <a:xfrm>
            <a:off x="2971800" y="4864099"/>
            <a:ext cx="2292350" cy="851655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036087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6open. Jaký konkrétní úkol týkající se ESG budete řešit tento rok? (Jestliže nějaký takový existuje, např. dekarbonizace)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sp>
        <p:nvSpPr>
          <p:cNvPr id="18" name="Řečová bublina: obdélníkový bublinový popisek se zakulacenými rohy 17">
            <a:extLst>
              <a:ext uri="{FF2B5EF4-FFF2-40B4-BE49-F238E27FC236}">
                <a16:creationId xmlns:a16="http://schemas.microsoft.com/office/drawing/2014/main" id="{2806D920-B283-7CDE-9821-6B0F750B718A}"/>
              </a:ext>
            </a:extLst>
          </p:cNvPr>
          <p:cNvSpPr/>
          <p:nvPr/>
        </p:nvSpPr>
        <p:spPr>
          <a:xfrm>
            <a:off x="6816959" y="4657631"/>
            <a:ext cx="1905089" cy="331308"/>
          </a:xfrm>
          <a:prstGeom prst="wedgeRoundRectCallout">
            <a:avLst>
              <a:gd name="adj1" fmla="val 38769"/>
              <a:gd name="adj2" fmla="val 7922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Nebudeme žádné řešit“</a:t>
            </a:r>
          </a:p>
        </p:txBody>
      </p:sp>
      <p:sp>
        <p:nvSpPr>
          <p:cNvPr id="19" name="Řečová bublina: obdélníkový bublinový popisek se zakulacenými rohy 18">
            <a:extLst>
              <a:ext uri="{FF2B5EF4-FFF2-40B4-BE49-F238E27FC236}">
                <a16:creationId xmlns:a16="http://schemas.microsoft.com/office/drawing/2014/main" id="{A30B7F48-4F6E-1641-95C2-E70146D4B6AB}"/>
              </a:ext>
            </a:extLst>
          </p:cNvPr>
          <p:cNvSpPr/>
          <p:nvPr/>
        </p:nvSpPr>
        <p:spPr>
          <a:xfrm>
            <a:off x="6857485" y="1602290"/>
            <a:ext cx="1584750" cy="341411"/>
          </a:xfrm>
          <a:prstGeom prst="wedgeRoundRectCallout">
            <a:avLst>
              <a:gd name="adj1" fmla="val 40789"/>
              <a:gd name="adj2" fmla="val 7562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ekarbonizace“</a:t>
            </a:r>
          </a:p>
        </p:txBody>
      </p:sp>
      <p:sp>
        <p:nvSpPr>
          <p:cNvPr id="20" name="Řečová bublina: obdélníkový bublinový popisek se zakulacenými rohy 19">
            <a:extLst>
              <a:ext uri="{FF2B5EF4-FFF2-40B4-BE49-F238E27FC236}">
                <a16:creationId xmlns:a16="http://schemas.microsoft.com/office/drawing/2014/main" id="{C36B2CE0-3450-6C91-0DDA-B604092C7E8D}"/>
              </a:ext>
            </a:extLst>
          </p:cNvPr>
          <p:cNvSpPr/>
          <p:nvPr/>
        </p:nvSpPr>
        <p:spPr>
          <a:xfrm>
            <a:off x="418009" y="2766023"/>
            <a:ext cx="1792868" cy="339020"/>
          </a:xfrm>
          <a:prstGeom prst="wedgeRoundRectCallout">
            <a:avLst>
              <a:gd name="adj1" fmla="val 40428"/>
              <a:gd name="adj2" fmla="val 8140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Čistší zdroj vytápění“</a:t>
            </a:r>
          </a:p>
        </p:txBody>
      </p:sp>
      <p:sp>
        <p:nvSpPr>
          <p:cNvPr id="22" name="Řečová bublina: obdélníkový bublinový popisek se zakulacenými rohy 21">
            <a:extLst>
              <a:ext uri="{FF2B5EF4-FFF2-40B4-BE49-F238E27FC236}">
                <a16:creationId xmlns:a16="http://schemas.microsoft.com/office/drawing/2014/main" id="{E5131653-6355-B813-3C88-5D19CC888933}"/>
              </a:ext>
            </a:extLst>
          </p:cNvPr>
          <p:cNvSpPr/>
          <p:nvPr/>
        </p:nvSpPr>
        <p:spPr>
          <a:xfrm>
            <a:off x="4181942" y="4418399"/>
            <a:ext cx="1331921" cy="301500"/>
          </a:xfrm>
          <a:prstGeom prst="wedgeRoundRectCallout">
            <a:avLst>
              <a:gd name="adj1" fmla="val -55025"/>
              <a:gd name="adj2" fmla="val -4231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Certifikace“</a:t>
            </a:r>
          </a:p>
        </p:txBody>
      </p:sp>
      <p:sp>
        <p:nvSpPr>
          <p:cNvPr id="23" name="Řečová bublina: obdélníkový bublinový popisek se zakulacenými rohy 22">
            <a:extLst>
              <a:ext uri="{FF2B5EF4-FFF2-40B4-BE49-F238E27FC236}">
                <a16:creationId xmlns:a16="http://schemas.microsoft.com/office/drawing/2014/main" id="{51DD8B85-8781-3BE5-B0CA-257CEA665B9D}"/>
              </a:ext>
            </a:extLst>
          </p:cNvPr>
          <p:cNvSpPr/>
          <p:nvPr/>
        </p:nvSpPr>
        <p:spPr>
          <a:xfrm>
            <a:off x="3121412" y="1790371"/>
            <a:ext cx="1905089" cy="331309"/>
          </a:xfrm>
          <a:prstGeom prst="wedgeRoundRectCallout">
            <a:avLst>
              <a:gd name="adj1" fmla="val 40971"/>
              <a:gd name="adj2" fmla="val 9441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Administrativní úkony“</a:t>
            </a:r>
          </a:p>
        </p:txBody>
      </p:sp>
      <p:sp>
        <p:nvSpPr>
          <p:cNvPr id="24" name="Řečová bublina: obdélníkový bublinový popisek se zakulacenými rohy 23">
            <a:extLst>
              <a:ext uri="{FF2B5EF4-FFF2-40B4-BE49-F238E27FC236}">
                <a16:creationId xmlns:a16="http://schemas.microsoft.com/office/drawing/2014/main" id="{39DA0EF5-8163-87B5-FCF0-92B80339E4F7}"/>
              </a:ext>
            </a:extLst>
          </p:cNvPr>
          <p:cNvSpPr/>
          <p:nvPr/>
        </p:nvSpPr>
        <p:spPr>
          <a:xfrm>
            <a:off x="7185748" y="2221079"/>
            <a:ext cx="1958549" cy="331310"/>
          </a:xfrm>
          <a:prstGeom prst="wedgeRoundRectCallout">
            <a:avLst>
              <a:gd name="adj1" fmla="val 40920"/>
              <a:gd name="adj2" fmla="val 81754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Revize vozového parku“</a:t>
            </a:r>
          </a:p>
        </p:txBody>
      </p:sp>
      <p:sp>
        <p:nvSpPr>
          <p:cNvPr id="25" name="Řečová bublina: obdélníkový bublinový popisek se zakulacenými rohy 24">
            <a:extLst>
              <a:ext uri="{FF2B5EF4-FFF2-40B4-BE49-F238E27FC236}">
                <a16:creationId xmlns:a16="http://schemas.microsoft.com/office/drawing/2014/main" id="{1D36193A-8D72-FB22-4AC6-5EBAEDFE740B}"/>
              </a:ext>
            </a:extLst>
          </p:cNvPr>
          <p:cNvSpPr/>
          <p:nvPr/>
        </p:nvSpPr>
        <p:spPr>
          <a:xfrm>
            <a:off x="6557956" y="3345269"/>
            <a:ext cx="2145193" cy="436218"/>
          </a:xfrm>
          <a:prstGeom prst="wedgeRoundRectCallout">
            <a:avLst>
              <a:gd name="adj1" fmla="val 56427"/>
              <a:gd name="adj2" fmla="val -4808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Přechod od plynového ohřevu na elektrický“</a:t>
            </a:r>
          </a:p>
        </p:txBody>
      </p:sp>
      <p:sp>
        <p:nvSpPr>
          <p:cNvPr id="26" name="Řečová bublina: obdélníkový bublinový popisek se zakulacenými rohy 25">
            <a:extLst>
              <a:ext uri="{FF2B5EF4-FFF2-40B4-BE49-F238E27FC236}">
                <a16:creationId xmlns:a16="http://schemas.microsoft.com/office/drawing/2014/main" id="{051D7619-11C5-C87D-C85E-09554E8EFE8A}"/>
              </a:ext>
            </a:extLst>
          </p:cNvPr>
          <p:cNvSpPr/>
          <p:nvPr/>
        </p:nvSpPr>
        <p:spPr>
          <a:xfrm>
            <a:off x="577672" y="3541971"/>
            <a:ext cx="2449994" cy="436218"/>
          </a:xfrm>
          <a:prstGeom prst="wedgeRoundRectCallout">
            <a:avLst>
              <a:gd name="adj1" fmla="val 39822"/>
              <a:gd name="adj2" fmla="val -7308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Řešíme úsporu energií a náhradu za obnovitelné zdroje“</a:t>
            </a:r>
          </a:p>
        </p:txBody>
      </p:sp>
      <p:sp>
        <p:nvSpPr>
          <p:cNvPr id="27" name="Řečová bublina: obdélníkový bublinový popisek se zakulacenými rohy 26">
            <a:extLst>
              <a:ext uri="{FF2B5EF4-FFF2-40B4-BE49-F238E27FC236}">
                <a16:creationId xmlns:a16="http://schemas.microsoft.com/office/drawing/2014/main" id="{5E1953F8-D139-7939-94B9-F7C987982B46}"/>
              </a:ext>
            </a:extLst>
          </p:cNvPr>
          <p:cNvSpPr/>
          <p:nvPr/>
        </p:nvSpPr>
        <p:spPr>
          <a:xfrm>
            <a:off x="730072" y="5150634"/>
            <a:ext cx="2145193" cy="436218"/>
          </a:xfrm>
          <a:prstGeom prst="wedgeRoundRectCallout">
            <a:avLst>
              <a:gd name="adj1" fmla="val -56980"/>
              <a:gd name="adj2" fmla="val 960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Ekologické balení produktů!</a:t>
            </a:r>
          </a:p>
        </p:txBody>
      </p:sp>
      <p:sp>
        <p:nvSpPr>
          <p:cNvPr id="28" name="Řečová bublina: obdélníkový bublinový popisek se zakulacenými rohy 27">
            <a:extLst>
              <a:ext uri="{FF2B5EF4-FFF2-40B4-BE49-F238E27FC236}">
                <a16:creationId xmlns:a16="http://schemas.microsoft.com/office/drawing/2014/main" id="{21E7CA5B-9F9D-49FA-D056-883FA7D7D99E}"/>
              </a:ext>
            </a:extLst>
          </p:cNvPr>
          <p:cNvSpPr/>
          <p:nvPr/>
        </p:nvSpPr>
        <p:spPr>
          <a:xfrm>
            <a:off x="3752685" y="3745334"/>
            <a:ext cx="2145193" cy="436218"/>
          </a:xfrm>
          <a:prstGeom prst="wedgeRoundRectCallout">
            <a:avLst>
              <a:gd name="adj1" fmla="val 40003"/>
              <a:gd name="adj2" fmla="val 7499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Žádný, ale neustále se snažíme řešit úspory“</a:t>
            </a:r>
          </a:p>
        </p:txBody>
      </p:sp>
      <p:sp>
        <p:nvSpPr>
          <p:cNvPr id="29" name="Řečová bublina: obdélníkový bublinový popisek se zakulacenými rohy 28">
            <a:extLst>
              <a:ext uri="{FF2B5EF4-FFF2-40B4-BE49-F238E27FC236}">
                <a16:creationId xmlns:a16="http://schemas.microsoft.com/office/drawing/2014/main" id="{E0D9CAEF-6A03-3BA3-6BF8-EA4B9D6A51AE}"/>
              </a:ext>
            </a:extLst>
          </p:cNvPr>
          <p:cNvSpPr/>
          <p:nvPr/>
        </p:nvSpPr>
        <p:spPr>
          <a:xfrm>
            <a:off x="485774" y="1128816"/>
            <a:ext cx="1657338" cy="436218"/>
          </a:xfrm>
          <a:prstGeom prst="wedgeRoundRectCallout">
            <a:avLst>
              <a:gd name="adj1" fmla="val -37815"/>
              <a:gd name="adj2" fmla="val 7114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Budeme řešit nižší spotřebu zdrojů“</a:t>
            </a:r>
          </a:p>
        </p:txBody>
      </p:sp>
      <p:sp>
        <p:nvSpPr>
          <p:cNvPr id="30" name="Řečová bublina: obdélníkový bublinový popisek se zakulacenými rohy 29">
            <a:extLst>
              <a:ext uri="{FF2B5EF4-FFF2-40B4-BE49-F238E27FC236}">
                <a16:creationId xmlns:a16="http://schemas.microsoft.com/office/drawing/2014/main" id="{469AAFD3-145E-FCF2-EDD6-3788EC22C005}"/>
              </a:ext>
            </a:extLst>
          </p:cNvPr>
          <p:cNvSpPr/>
          <p:nvPr/>
        </p:nvSpPr>
        <p:spPr>
          <a:xfrm>
            <a:off x="7615243" y="5217284"/>
            <a:ext cx="1501584" cy="368391"/>
          </a:xfrm>
          <a:prstGeom prst="wedgeRoundRectCallout">
            <a:avLst>
              <a:gd name="adj1" fmla="val -55025"/>
              <a:gd name="adj2" fmla="val -4231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Zatím nevíme“</a:t>
            </a:r>
          </a:p>
        </p:txBody>
      </p:sp>
      <p:sp>
        <p:nvSpPr>
          <p:cNvPr id="31" name="Řečová bublina: obdélníkový bublinový popisek se zakulacenými rohy 30">
            <a:extLst>
              <a:ext uri="{FF2B5EF4-FFF2-40B4-BE49-F238E27FC236}">
                <a16:creationId xmlns:a16="http://schemas.microsoft.com/office/drawing/2014/main" id="{68319805-5A58-0EE0-6AD0-B70CC5FE7B80}"/>
              </a:ext>
            </a:extLst>
          </p:cNvPr>
          <p:cNvSpPr/>
          <p:nvPr/>
        </p:nvSpPr>
        <p:spPr>
          <a:xfrm>
            <a:off x="3430306" y="4958660"/>
            <a:ext cx="3192391" cy="666879"/>
          </a:xfrm>
          <a:prstGeom prst="wedgeRoundRectCallout">
            <a:avLst>
              <a:gd name="adj1" fmla="val 42729"/>
              <a:gd name="adj2" fmla="val -6370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/>
              </a:rPr>
              <a:t>„Z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pšení pracovního prostředí zaměstnanců, nákup novějších strojů z důvodu nižší produkce skleníkových plynů“</a:t>
            </a:r>
          </a:p>
        </p:txBody>
      </p:sp>
      <p:sp>
        <p:nvSpPr>
          <p:cNvPr id="32" name="Řečová bublina: obdélníkový bublinový popisek se zakulacenými rohy 31">
            <a:extLst>
              <a:ext uri="{FF2B5EF4-FFF2-40B4-BE49-F238E27FC236}">
                <a16:creationId xmlns:a16="http://schemas.microsoft.com/office/drawing/2014/main" id="{7CBAE4F4-688E-6C96-E43E-2077BCA1FFE2}"/>
              </a:ext>
            </a:extLst>
          </p:cNvPr>
          <p:cNvSpPr/>
          <p:nvPr/>
        </p:nvSpPr>
        <p:spPr>
          <a:xfrm>
            <a:off x="585929" y="1968342"/>
            <a:ext cx="2145193" cy="436218"/>
          </a:xfrm>
          <a:prstGeom prst="wedgeRoundRectCallout">
            <a:avLst>
              <a:gd name="adj1" fmla="val 56427"/>
              <a:gd name="adj2" fmla="val 4422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opad klimatických změn a snížení uhlíkové stopy“</a:t>
            </a:r>
          </a:p>
        </p:txBody>
      </p:sp>
      <p:sp>
        <p:nvSpPr>
          <p:cNvPr id="33" name="Řečová bublina: obdélníkový bublinový popisek se zakulacenými rohy 32">
            <a:extLst>
              <a:ext uri="{FF2B5EF4-FFF2-40B4-BE49-F238E27FC236}">
                <a16:creationId xmlns:a16="http://schemas.microsoft.com/office/drawing/2014/main" id="{D3DBB251-C76B-9396-F386-81D6A74B0566}"/>
              </a:ext>
            </a:extLst>
          </p:cNvPr>
          <p:cNvSpPr/>
          <p:nvPr/>
        </p:nvSpPr>
        <p:spPr>
          <a:xfrm>
            <a:off x="6999104" y="3971144"/>
            <a:ext cx="2145193" cy="436218"/>
          </a:xfrm>
          <a:prstGeom prst="wedgeRoundRectCallout">
            <a:avLst>
              <a:gd name="adj1" fmla="val -39774"/>
              <a:gd name="adj2" fmla="val 8076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Ještě nejsme rozhodnuti“</a:t>
            </a:r>
          </a:p>
        </p:txBody>
      </p:sp>
      <p:sp>
        <p:nvSpPr>
          <p:cNvPr id="35" name="Řečová bublina: obdélníkový bublinový popisek se zakulacenými rohy 34">
            <a:extLst>
              <a:ext uri="{FF2B5EF4-FFF2-40B4-BE49-F238E27FC236}">
                <a16:creationId xmlns:a16="http://schemas.microsoft.com/office/drawing/2014/main" id="{CAC8B842-6BD0-8997-AA9D-81ACAAAA3A38}"/>
              </a:ext>
            </a:extLst>
          </p:cNvPr>
          <p:cNvSpPr/>
          <p:nvPr/>
        </p:nvSpPr>
        <p:spPr>
          <a:xfrm>
            <a:off x="6650923" y="2773146"/>
            <a:ext cx="2237160" cy="377620"/>
          </a:xfrm>
          <a:prstGeom prst="wedgeRoundRectCallout">
            <a:avLst>
              <a:gd name="adj1" fmla="val -55025"/>
              <a:gd name="adj2" fmla="val -4231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/>
              </a:rPr>
              <a:t>„Snižujeme spotřeby energií“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Řečová bublina: obdélníkový bublinový popisek se zakulacenými rohy 35">
            <a:extLst>
              <a:ext uri="{FF2B5EF4-FFF2-40B4-BE49-F238E27FC236}">
                <a16:creationId xmlns:a16="http://schemas.microsoft.com/office/drawing/2014/main" id="{6785F1E8-7F41-039F-2F1D-EBB1B3A392C0}"/>
              </a:ext>
            </a:extLst>
          </p:cNvPr>
          <p:cNvSpPr/>
          <p:nvPr/>
        </p:nvSpPr>
        <p:spPr>
          <a:xfrm>
            <a:off x="5424372" y="1889424"/>
            <a:ext cx="1167814" cy="331310"/>
          </a:xfrm>
          <a:prstGeom prst="wedgeRoundRectCallout">
            <a:avLst>
              <a:gd name="adj1" fmla="val -59335"/>
              <a:gd name="adj2" fmla="val -39785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/>
              </a:rPr>
              <a:t>„Recyklace“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Řečová bublina: obdélníkový bublinový popisek se zakulacenými rohy 36">
            <a:extLst>
              <a:ext uri="{FF2B5EF4-FFF2-40B4-BE49-F238E27FC236}">
                <a16:creationId xmlns:a16="http://schemas.microsoft.com/office/drawing/2014/main" id="{1ECC6B3E-EBF0-6F7C-8AD1-57D650D25F65}"/>
              </a:ext>
            </a:extLst>
          </p:cNvPr>
          <p:cNvSpPr/>
          <p:nvPr/>
        </p:nvSpPr>
        <p:spPr>
          <a:xfrm>
            <a:off x="392418" y="4315013"/>
            <a:ext cx="3064505" cy="508272"/>
          </a:xfrm>
          <a:prstGeom prst="wedgeRoundRectCallout">
            <a:avLst>
              <a:gd name="adj1" fmla="val -36410"/>
              <a:gd name="adj2" fmla="val -73676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Zelená energie, snížení obchodních cest autem s důrazem na veřejnou dopravu “</a:t>
            </a:r>
          </a:p>
        </p:txBody>
      </p:sp>
      <p:sp>
        <p:nvSpPr>
          <p:cNvPr id="38" name="Řečová bublina: obdélníkový bublinový popisek se zakulacenými rohy 37">
            <a:extLst>
              <a:ext uri="{FF2B5EF4-FFF2-40B4-BE49-F238E27FC236}">
                <a16:creationId xmlns:a16="http://schemas.microsoft.com/office/drawing/2014/main" id="{62AEF529-182B-C253-8778-BA63DEED624C}"/>
              </a:ext>
            </a:extLst>
          </p:cNvPr>
          <p:cNvSpPr/>
          <p:nvPr/>
        </p:nvSpPr>
        <p:spPr>
          <a:xfrm>
            <a:off x="3086694" y="2430904"/>
            <a:ext cx="3192391" cy="1007731"/>
          </a:xfrm>
          <a:prstGeom prst="wedgeRoundRectCallout">
            <a:avLst>
              <a:gd name="adj1" fmla="val -55025"/>
              <a:gd name="adj2" fmla="val -4231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Určitě budeme řešit sociální úkol, který spočívá v zachování stávajících pracovních míst, neradi bychom díky špatné finanční situaci museli zaměstnance posílat na úřady práce“</a:t>
            </a:r>
          </a:p>
        </p:txBody>
      </p:sp>
      <p:sp>
        <p:nvSpPr>
          <p:cNvPr id="39" name="Řečová bublina: obdélníkový bublinový popisek se zakulacenými rohy 38">
            <a:extLst>
              <a:ext uri="{FF2B5EF4-FFF2-40B4-BE49-F238E27FC236}">
                <a16:creationId xmlns:a16="http://schemas.microsoft.com/office/drawing/2014/main" id="{70A19834-A48D-1B38-5736-47AE30983C4A}"/>
              </a:ext>
            </a:extLst>
          </p:cNvPr>
          <p:cNvSpPr/>
          <p:nvPr/>
        </p:nvSpPr>
        <p:spPr>
          <a:xfrm>
            <a:off x="2395858" y="1168147"/>
            <a:ext cx="2337678" cy="462980"/>
          </a:xfrm>
          <a:prstGeom prst="wedgeRoundRectCallout">
            <a:avLst>
              <a:gd name="adj1" fmla="val -38696"/>
              <a:gd name="adj2" fmla="val 83543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održování všech sociálních a environmentálních faktorů</a:t>
            </a:r>
          </a:p>
        </p:txBody>
      </p:sp>
      <p:sp>
        <p:nvSpPr>
          <p:cNvPr id="40" name="Řečová bublina: obdélníkový bublinový popisek se zakulacenými rohy 39">
            <a:extLst>
              <a:ext uri="{FF2B5EF4-FFF2-40B4-BE49-F238E27FC236}">
                <a16:creationId xmlns:a16="http://schemas.microsoft.com/office/drawing/2014/main" id="{44B8C0AD-0DDB-AF85-DC0C-55CCECCA6F86}"/>
              </a:ext>
            </a:extLst>
          </p:cNvPr>
          <p:cNvSpPr/>
          <p:nvPr/>
        </p:nvSpPr>
        <p:spPr>
          <a:xfrm>
            <a:off x="5139964" y="1281774"/>
            <a:ext cx="802029" cy="331310"/>
          </a:xfrm>
          <a:prstGeom prst="wedgeRoundRectCallout">
            <a:avLst>
              <a:gd name="adj1" fmla="val 36895"/>
              <a:gd name="adj2" fmla="val 79222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/>
              </a:rPr>
              <a:t>„ESG“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Řečová bublina: obdélníkový bublinový popisek se zakulacenými rohy 40">
            <a:extLst>
              <a:ext uri="{FF2B5EF4-FFF2-40B4-BE49-F238E27FC236}">
                <a16:creationId xmlns:a16="http://schemas.microsoft.com/office/drawing/2014/main" id="{B6D9FA43-B15B-184B-ED5A-AD81D3A56ED4}"/>
              </a:ext>
            </a:extLst>
          </p:cNvPr>
          <p:cNvSpPr/>
          <p:nvPr/>
        </p:nvSpPr>
        <p:spPr>
          <a:xfrm>
            <a:off x="6138586" y="1112814"/>
            <a:ext cx="1975202" cy="319022"/>
          </a:xfrm>
          <a:prstGeom prst="wedgeRoundRectCallout">
            <a:avLst>
              <a:gd name="adj1" fmla="val -36586"/>
              <a:gd name="adj2" fmla="val 8103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Snížení spotřeby vody“</a:t>
            </a:r>
          </a:p>
        </p:txBody>
      </p:sp>
      <p:sp>
        <p:nvSpPr>
          <p:cNvPr id="42" name="Řečová bublina: obdélníkový bublinový popisek se zakulacenými rohy 41">
            <a:extLst>
              <a:ext uri="{FF2B5EF4-FFF2-40B4-BE49-F238E27FC236}">
                <a16:creationId xmlns:a16="http://schemas.microsoft.com/office/drawing/2014/main" id="{B4092E3C-8273-0EC6-1DAA-510B689D413B}"/>
              </a:ext>
            </a:extLst>
          </p:cNvPr>
          <p:cNvSpPr/>
          <p:nvPr/>
        </p:nvSpPr>
        <p:spPr>
          <a:xfrm>
            <a:off x="388191" y="194360"/>
            <a:ext cx="2828954" cy="631639"/>
          </a:xfrm>
          <a:prstGeom prst="wedgeRoundRectCallout">
            <a:avLst>
              <a:gd name="adj1" fmla="val 35431"/>
              <a:gd name="adj2" fmla="val 65439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Dekarbonizaci v tomto roce neplánujeme. Uvažujeme o úsporných opatření v oblasti energetiky. “</a:t>
            </a:r>
          </a:p>
        </p:txBody>
      </p:sp>
      <p:sp>
        <p:nvSpPr>
          <p:cNvPr id="43" name="Řečová bublina: obdélníkový bublinový popisek se zakulacenými rohy 42">
            <a:extLst>
              <a:ext uri="{FF2B5EF4-FFF2-40B4-BE49-F238E27FC236}">
                <a16:creationId xmlns:a16="http://schemas.microsoft.com/office/drawing/2014/main" id="{8AAE1B02-524C-74B8-7573-FEBBA84A4D32}"/>
              </a:ext>
            </a:extLst>
          </p:cNvPr>
          <p:cNvSpPr/>
          <p:nvPr/>
        </p:nvSpPr>
        <p:spPr>
          <a:xfrm>
            <a:off x="3458418" y="476412"/>
            <a:ext cx="2145193" cy="356882"/>
          </a:xfrm>
          <a:prstGeom prst="wedgeRoundRectCallout">
            <a:avLst>
              <a:gd name="adj1" fmla="val -38991"/>
              <a:gd name="adj2" fmla="val 80057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Fér přístup k pracovníkům“</a:t>
            </a:r>
          </a:p>
        </p:txBody>
      </p:sp>
      <p:sp>
        <p:nvSpPr>
          <p:cNvPr id="44" name="Řečová bublina: obdélníkový bublinový popisek se zakulacenými rohy 43">
            <a:extLst>
              <a:ext uri="{FF2B5EF4-FFF2-40B4-BE49-F238E27FC236}">
                <a16:creationId xmlns:a16="http://schemas.microsoft.com/office/drawing/2014/main" id="{8AF56F1E-9AEB-95D9-9C02-1562EF374422}"/>
              </a:ext>
            </a:extLst>
          </p:cNvPr>
          <p:cNvSpPr/>
          <p:nvPr/>
        </p:nvSpPr>
        <p:spPr>
          <a:xfrm>
            <a:off x="5897878" y="547471"/>
            <a:ext cx="3331685" cy="356882"/>
          </a:xfrm>
          <a:prstGeom prst="wedgeRoundRectCallout">
            <a:avLst>
              <a:gd name="adj1" fmla="val 35679"/>
              <a:gd name="adj2" fmla="val 83388"/>
              <a:gd name="adj3" fmla="val 16667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Instalace FVE na nově zakoupenou budovu“</a:t>
            </a:r>
          </a:p>
        </p:txBody>
      </p:sp>
    </p:spTree>
    <p:extLst>
      <p:ext uri="{BB962C8B-B14F-4D97-AF65-F5344CB8AC3E}">
        <p14:creationId xmlns:p14="http://schemas.microsoft.com/office/powerpoint/2010/main" val="6179340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VĚTŠINA FIREM V NÁSLEDUJÍCÍCH 36 MĚSÍCÍCH NEPLÁNUJE aktivně IMPLEMENTOVAT ZMĚNY VYPLÝVAJÍCÍ Z ESG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949107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aký je Váš krátkodobý plán pro implementaci změn vyplývajících z ESG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815543"/>
            <a:ext cx="10387965" cy="618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7. Jaký je Váš krátkodobý plán (v řádu 36 měsíců) pro implementaci změn vyplývajících z ESG? (Prosím, zhodnoťte na škále, kde 1 znamená regulatorní minimum, 5 znamená někde mezi a 9 znamená proaktivní implementace)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44074624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408935"/>
              </p:ext>
            </p:extLst>
          </p:nvPr>
        </p:nvGraphicFramePr>
        <p:xfrm>
          <a:off x="6399629" y="2207203"/>
          <a:ext cx="2974377" cy="2664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43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66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0" i="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3566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8 + 9 – Plánujeme proaktivně implementov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1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6 + 7 – Plánujeme implementovat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1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 – Někde mez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1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 + 4 – Plánujeme implementovat trochu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61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noProof="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 + 2 – Plánujeme implementovat minimálně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9499303"/>
                  </a:ext>
                </a:extLst>
              </a:tr>
              <a:tr h="3664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100" b="0" i="0" noProof="0" dirty="0">
                        <a:solidFill>
                          <a:schemeClr val="tx1"/>
                        </a:solidFill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8883129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24">
            <a:extLst>
              <a:ext uri="{FF2B5EF4-FFF2-40B4-BE49-F238E27FC236}">
                <a16:creationId xmlns:a16="http://schemas.microsoft.com/office/drawing/2014/main" id="{FFA64014-4F27-223A-6089-4E20E313E156}"/>
              </a:ext>
            </a:extLst>
          </p:cNvPr>
          <p:cNvSpPr/>
          <p:nvPr/>
        </p:nvSpPr>
        <p:spPr>
          <a:xfrm>
            <a:off x="6291629" y="268198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24">
            <a:extLst>
              <a:ext uri="{FF2B5EF4-FFF2-40B4-BE49-F238E27FC236}">
                <a16:creationId xmlns:a16="http://schemas.microsoft.com/office/drawing/2014/main" id="{52C29A08-FD71-B8F6-4CB8-9AB8EC570518}"/>
              </a:ext>
            </a:extLst>
          </p:cNvPr>
          <p:cNvSpPr/>
          <p:nvPr/>
        </p:nvSpPr>
        <p:spPr>
          <a:xfrm>
            <a:off x="6291629" y="3461283"/>
            <a:ext cx="108000" cy="108000"/>
          </a:xfrm>
          <a:prstGeom prst="rect">
            <a:avLst/>
          </a:prstGeom>
          <a:solidFill>
            <a:srgbClr val="4D1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24">
            <a:extLst>
              <a:ext uri="{FF2B5EF4-FFF2-40B4-BE49-F238E27FC236}">
                <a16:creationId xmlns:a16="http://schemas.microsoft.com/office/drawing/2014/main" id="{7EFB302F-AD46-F6F5-1157-77980B335D16}"/>
              </a:ext>
            </a:extLst>
          </p:cNvPr>
          <p:cNvSpPr/>
          <p:nvPr/>
        </p:nvSpPr>
        <p:spPr>
          <a:xfrm>
            <a:off x="6291629" y="3070054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24">
            <a:extLst>
              <a:ext uri="{FF2B5EF4-FFF2-40B4-BE49-F238E27FC236}">
                <a16:creationId xmlns:a16="http://schemas.microsoft.com/office/drawing/2014/main" id="{83C6863F-81EB-E456-1728-871DD84D5D78}"/>
              </a:ext>
            </a:extLst>
          </p:cNvPr>
          <p:cNvSpPr/>
          <p:nvPr/>
        </p:nvSpPr>
        <p:spPr>
          <a:xfrm>
            <a:off x="6291629" y="3858413"/>
            <a:ext cx="108000" cy="108000"/>
          </a:xfrm>
          <a:prstGeom prst="rect">
            <a:avLst/>
          </a:prstGeom>
          <a:solidFill>
            <a:srgbClr val="99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24">
            <a:extLst>
              <a:ext uri="{FF2B5EF4-FFF2-40B4-BE49-F238E27FC236}">
                <a16:creationId xmlns:a16="http://schemas.microsoft.com/office/drawing/2014/main" id="{335C08C7-53DF-B89A-69BF-A00D34447878}"/>
              </a:ext>
            </a:extLst>
          </p:cNvPr>
          <p:cNvSpPr/>
          <p:nvPr/>
        </p:nvSpPr>
        <p:spPr>
          <a:xfrm>
            <a:off x="6291629" y="4252789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872E188C-6495-8A04-4DA3-946F7EA019BB}"/>
              </a:ext>
            </a:extLst>
          </p:cNvPr>
          <p:cNvSpPr/>
          <p:nvPr/>
        </p:nvSpPr>
        <p:spPr>
          <a:xfrm>
            <a:off x="623509" y="3301598"/>
            <a:ext cx="628399" cy="1146276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8466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46021"/>
            <a:ext cx="10980953" cy="1587679"/>
          </a:xfrm>
        </p:spPr>
        <p:txBody>
          <a:bodyPr/>
          <a:lstStyle/>
          <a:p>
            <a:r>
              <a:rPr lang="cs-CZ" dirty="0"/>
              <a:t>PRŮZKUMY UKAZUJÍ VÝVOJ </a:t>
            </a:r>
            <a:endParaRPr lang="en-US" dirty="0"/>
          </a:p>
        </p:txBody>
      </p:sp>
      <p:grpSp>
        <p:nvGrpSpPr>
          <p:cNvPr id="4" name="Group 15">
            <a:extLst>
              <a:ext uri="{FF2B5EF4-FFF2-40B4-BE49-F238E27FC236}">
                <a16:creationId xmlns:a16="http://schemas.microsoft.com/office/drawing/2014/main" id="{F83C034D-32AF-9007-511C-9E26FAA7E0A2}"/>
              </a:ext>
            </a:extLst>
          </p:cNvPr>
          <p:cNvGrpSpPr>
            <a:grpSpLocks noChangeAspect="1"/>
          </p:cNvGrpSpPr>
          <p:nvPr/>
        </p:nvGrpSpPr>
        <p:grpSpPr>
          <a:xfrm>
            <a:off x="969302" y="3338189"/>
            <a:ext cx="1127348" cy="942115"/>
            <a:chOff x="5308593" y="2025650"/>
            <a:chExt cx="812804" cy="704850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A1959A87-C4E8-8C74-35C1-961566F66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297" y="2184400"/>
              <a:ext cx="546100" cy="546100"/>
            </a:xfrm>
            <a:custGeom>
              <a:avLst/>
              <a:gdLst/>
              <a:ahLst/>
              <a:cxnLst>
                <a:cxn ang="0">
                  <a:pos x="44" y="106"/>
                </a:cxn>
                <a:cxn ang="0">
                  <a:pos x="28" y="118"/>
                </a:cxn>
                <a:cxn ang="0">
                  <a:pos x="4" y="126"/>
                </a:cxn>
                <a:cxn ang="0">
                  <a:pos x="6" y="158"/>
                </a:cxn>
                <a:cxn ang="0">
                  <a:pos x="28" y="178"/>
                </a:cxn>
                <a:cxn ang="0">
                  <a:pos x="20" y="196"/>
                </a:cxn>
                <a:cxn ang="0">
                  <a:pos x="4" y="218"/>
                </a:cxn>
                <a:cxn ang="0">
                  <a:pos x="22" y="244"/>
                </a:cxn>
                <a:cxn ang="0">
                  <a:pos x="46" y="244"/>
                </a:cxn>
                <a:cxn ang="0">
                  <a:pos x="52" y="268"/>
                </a:cxn>
                <a:cxn ang="0">
                  <a:pos x="48" y="296"/>
                </a:cxn>
                <a:cxn ang="0">
                  <a:pos x="76" y="310"/>
                </a:cxn>
                <a:cxn ang="0">
                  <a:pos x="106" y="302"/>
                </a:cxn>
                <a:cxn ang="0">
                  <a:pos x="116" y="316"/>
                </a:cxn>
                <a:cxn ang="0">
                  <a:pos x="126" y="342"/>
                </a:cxn>
                <a:cxn ang="0">
                  <a:pos x="158" y="338"/>
                </a:cxn>
                <a:cxn ang="0">
                  <a:pos x="178" y="318"/>
                </a:cxn>
                <a:cxn ang="0">
                  <a:pos x="196" y="324"/>
                </a:cxn>
                <a:cxn ang="0">
                  <a:pos x="216" y="342"/>
                </a:cxn>
                <a:cxn ang="0">
                  <a:pos x="242" y="324"/>
                </a:cxn>
                <a:cxn ang="0">
                  <a:pos x="250" y="294"/>
                </a:cxn>
                <a:cxn ang="0">
                  <a:pos x="268" y="292"/>
                </a:cxn>
                <a:cxn ang="0">
                  <a:pos x="296" y="296"/>
                </a:cxn>
                <a:cxn ang="0">
                  <a:pos x="308" y="268"/>
                </a:cxn>
                <a:cxn ang="0">
                  <a:pos x="300" y="240"/>
                </a:cxn>
                <a:cxn ang="0">
                  <a:pos x="316" y="228"/>
                </a:cxn>
                <a:cxn ang="0">
                  <a:pos x="340" y="218"/>
                </a:cxn>
                <a:cxn ang="0">
                  <a:pos x="338" y="186"/>
                </a:cxn>
                <a:cxn ang="0">
                  <a:pos x="316" y="166"/>
                </a:cxn>
                <a:cxn ang="0">
                  <a:pos x="324" y="148"/>
                </a:cxn>
                <a:cxn ang="0">
                  <a:pos x="340" y="128"/>
                </a:cxn>
                <a:cxn ang="0">
                  <a:pos x="322" y="102"/>
                </a:cxn>
                <a:cxn ang="0">
                  <a:pos x="294" y="94"/>
                </a:cxn>
                <a:cxn ang="0">
                  <a:pos x="292" y="76"/>
                </a:cxn>
                <a:cxn ang="0">
                  <a:pos x="296" y="50"/>
                </a:cxn>
                <a:cxn ang="0">
                  <a:pos x="268" y="36"/>
                </a:cxn>
                <a:cxn ang="0">
                  <a:pos x="238" y="44"/>
                </a:cxn>
                <a:cxn ang="0">
                  <a:pos x="228" y="28"/>
                </a:cxn>
                <a:cxn ang="0">
                  <a:pos x="218" y="4"/>
                </a:cxn>
                <a:cxn ang="0">
                  <a:pos x="186" y="6"/>
                </a:cxn>
                <a:cxn ang="0">
                  <a:pos x="166" y="28"/>
                </a:cxn>
                <a:cxn ang="0">
                  <a:pos x="148" y="20"/>
                </a:cxn>
                <a:cxn ang="0">
                  <a:pos x="128" y="4"/>
                </a:cxn>
                <a:cxn ang="0">
                  <a:pos x="102" y="22"/>
                </a:cxn>
                <a:cxn ang="0">
                  <a:pos x="94" y="50"/>
                </a:cxn>
                <a:cxn ang="0">
                  <a:pos x="76" y="52"/>
                </a:cxn>
                <a:cxn ang="0">
                  <a:pos x="48" y="48"/>
                </a:cxn>
                <a:cxn ang="0">
                  <a:pos x="36" y="78"/>
                </a:cxn>
                <a:cxn ang="0">
                  <a:pos x="162" y="72"/>
                </a:cxn>
                <a:cxn ang="0">
                  <a:pos x="248" y="106"/>
                </a:cxn>
                <a:cxn ang="0">
                  <a:pos x="272" y="182"/>
                </a:cxn>
                <a:cxn ang="0">
                  <a:pos x="222" y="260"/>
                </a:cxn>
                <a:cxn ang="0">
                  <a:pos x="144" y="270"/>
                </a:cxn>
                <a:cxn ang="0">
                  <a:pos x="76" y="204"/>
                </a:cxn>
                <a:cxn ang="0">
                  <a:pos x="82" y="126"/>
                </a:cxn>
                <a:cxn ang="0">
                  <a:pos x="142" y="76"/>
                </a:cxn>
              </a:cxnLst>
              <a:rect l="0" t="0" r="r" b="b"/>
              <a:pathLst>
                <a:path w="344" h="344">
                  <a:moveTo>
                    <a:pt x="38" y="82"/>
                  </a:moveTo>
                  <a:lnTo>
                    <a:pt x="38" y="82"/>
                  </a:lnTo>
                  <a:lnTo>
                    <a:pt x="42" y="90"/>
                  </a:lnTo>
                  <a:lnTo>
                    <a:pt x="44" y="98"/>
                  </a:lnTo>
                  <a:lnTo>
                    <a:pt x="44" y="106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0" y="114"/>
                  </a:lnTo>
                  <a:lnTo>
                    <a:pt x="34" y="116"/>
                  </a:lnTo>
                  <a:lnTo>
                    <a:pt x="28" y="118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14" y="116"/>
                  </a:lnTo>
                  <a:lnTo>
                    <a:pt x="8" y="120"/>
                  </a:lnTo>
                  <a:lnTo>
                    <a:pt x="4" y="12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2" y="152"/>
                  </a:lnTo>
                  <a:lnTo>
                    <a:pt x="6" y="158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8" y="166"/>
                  </a:lnTo>
                  <a:lnTo>
                    <a:pt x="24" y="172"/>
                  </a:lnTo>
                  <a:lnTo>
                    <a:pt x="28" y="178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28" y="188"/>
                  </a:lnTo>
                  <a:lnTo>
                    <a:pt x="24" y="192"/>
                  </a:lnTo>
                  <a:lnTo>
                    <a:pt x="20" y="196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8" y="202"/>
                  </a:lnTo>
                  <a:lnTo>
                    <a:pt x="4" y="210"/>
                  </a:lnTo>
                  <a:lnTo>
                    <a:pt x="4" y="21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8" y="234"/>
                  </a:lnTo>
                  <a:lnTo>
                    <a:pt x="14" y="240"/>
                  </a:lnTo>
                  <a:lnTo>
                    <a:pt x="22" y="244"/>
                  </a:lnTo>
                  <a:lnTo>
                    <a:pt x="28" y="244"/>
                  </a:lnTo>
                  <a:lnTo>
                    <a:pt x="28" y="244"/>
                  </a:lnTo>
                  <a:lnTo>
                    <a:pt x="34" y="242"/>
                  </a:lnTo>
                  <a:lnTo>
                    <a:pt x="40" y="242"/>
                  </a:lnTo>
                  <a:lnTo>
                    <a:pt x="46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50" y="252"/>
                  </a:lnTo>
                  <a:lnTo>
                    <a:pt x="52" y="260"/>
                  </a:lnTo>
                  <a:lnTo>
                    <a:pt x="52" y="268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46" y="280"/>
                  </a:lnTo>
                  <a:lnTo>
                    <a:pt x="46" y="288"/>
                  </a:lnTo>
                  <a:lnTo>
                    <a:pt x="48" y="296"/>
                  </a:lnTo>
                  <a:lnTo>
                    <a:pt x="54" y="302"/>
                  </a:lnTo>
                  <a:lnTo>
                    <a:pt x="54" y="302"/>
                  </a:lnTo>
                  <a:lnTo>
                    <a:pt x="62" y="308"/>
                  </a:lnTo>
                  <a:lnTo>
                    <a:pt x="70" y="310"/>
                  </a:lnTo>
                  <a:lnTo>
                    <a:pt x="76" y="310"/>
                  </a:lnTo>
                  <a:lnTo>
                    <a:pt x="82" y="306"/>
                  </a:lnTo>
                  <a:lnTo>
                    <a:pt x="82" y="306"/>
                  </a:lnTo>
                  <a:lnTo>
                    <a:pt x="88" y="302"/>
                  </a:lnTo>
                  <a:lnTo>
                    <a:pt x="98" y="300"/>
                  </a:lnTo>
                  <a:lnTo>
                    <a:pt x="106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4" y="306"/>
                  </a:lnTo>
                  <a:lnTo>
                    <a:pt x="116" y="310"/>
                  </a:lnTo>
                  <a:lnTo>
                    <a:pt x="116" y="316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30"/>
                  </a:lnTo>
                  <a:lnTo>
                    <a:pt x="120" y="336"/>
                  </a:lnTo>
                  <a:lnTo>
                    <a:pt x="126" y="342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44" y="344"/>
                  </a:lnTo>
                  <a:lnTo>
                    <a:pt x="152" y="342"/>
                  </a:lnTo>
                  <a:lnTo>
                    <a:pt x="158" y="338"/>
                  </a:lnTo>
                  <a:lnTo>
                    <a:pt x="162" y="332"/>
                  </a:lnTo>
                  <a:lnTo>
                    <a:pt x="162" y="332"/>
                  </a:lnTo>
                  <a:lnTo>
                    <a:pt x="164" y="326"/>
                  </a:lnTo>
                  <a:lnTo>
                    <a:pt x="172" y="322"/>
                  </a:lnTo>
                  <a:lnTo>
                    <a:pt x="178" y="318"/>
                  </a:lnTo>
                  <a:lnTo>
                    <a:pt x="184" y="316"/>
                  </a:lnTo>
                  <a:lnTo>
                    <a:pt x="184" y="316"/>
                  </a:lnTo>
                  <a:lnTo>
                    <a:pt x="188" y="316"/>
                  </a:lnTo>
                  <a:lnTo>
                    <a:pt x="192" y="320"/>
                  </a:lnTo>
                  <a:lnTo>
                    <a:pt x="196" y="324"/>
                  </a:lnTo>
                  <a:lnTo>
                    <a:pt x="198" y="330"/>
                  </a:lnTo>
                  <a:lnTo>
                    <a:pt x="198" y="330"/>
                  </a:lnTo>
                  <a:lnTo>
                    <a:pt x="202" y="336"/>
                  </a:lnTo>
                  <a:lnTo>
                    <a:pt x="208" y="340"/>
                  </a:lnTo>
                  <a:lnTo>
                    <a:pt x="216" y="342"/>
                  </a:lnTo>
                  <a:lnTo>
                    <a:pt x="226" y="340"/>
                  </a:lnTo>
                  <a:lnTo>
                    <a:pt x="226" y="340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2" y="324"/>
                  </a:lnTo>
                  <a:lnTo>
                    <a:pt x="242" y="316"/>
                  </a:lnTo>
                  <a:lnTo>
                    <a:pt x="242" y="316"/>
                  </a:lnTo>
                  <a:lnTo>
                    <a:pt x="242" y="310"/>
                  </a:lnTo>
                  <a:lnTo>
                    <a:pt x="246" y="302"/>
                  </a:lnTo>
                  <a:lnTo>
                    <a:pt x="250" y="294"/>
                  </a:lnTo>
                  <a:lnTo>
                    <a:pt x="254" y="290"/>
                  </a:lnTo>
                  <a:lnTo>
                    <a:pt x="254" y="290"/>
                  </a:lnTo>
                  <a:lnTo>
                    <a:pt x="258" y="290"/>
                  </a:lnTo>
                  <a:lnTo>
                    <a:pt x="264" y="290"/>
                  </a:lnTo>
                  <a:lnTo>
                    <a:pt x="268" y="292"/>
                  </a:lnTo>
                  <a:lnTo>
                    <a:pt x="274" y="296"/>
                  </a:lnTo>
                  <a:lnTo>
                    <a:pt x="274" y="296"/>
                  </a:lnTo>
                  <a:lnTo>
                    <a:pt x="280" y="300"/>
                  </a:lnTo>
                  <a:lnTo>
                    <a:pt x="288" y="300"/>
                  </a:lnTo>
                  <a:lnTo>
                    <a:pt x="296" y="296"/>
                  </a:lnTo>
                  <a:lnTo>
                    <a:pt x="302" y="290"/>
                  </a:lnTo>
                  <a:lnTo>
                    <a:pt x="302" y="290"/>
                  </a:lnTo>
                  <a:lnTo>
                    <a:pt x="308" y="282"/>
                  </a:lnTo>
                  <a:lnTo>
                    <a:pt x="310" y="274"/>
                  </a:lnTo>
                  <a:lnTo>
                    <a:pt x="308" y="268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2" y="256"/>
                  </a:lnTo>
                  <a:lnTo>
                    <a:pt x="300" y="248"/>
                  </a:lnTo>
                  <a:lnTo>
                    <a:pt x="300" y="240"/>
                  </a:lnTo>
                  <a:lnTo>
                    <a:pt x="302" y="234"/>
                  </a:lnTo>
                  <a:lnTo>
                    <a:pt x="302" y="234"/>
                  </a:lnTo>
                  <a:lnTo>
                    <a:pt x="304" y="230"/>
                  </a:lnTo>
                  <a:lnTo>
                    <a:pt x="310" y="228"/>
                  </a:lnTo>
                  <a:lnTo>
                    <a:pt x="316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30" y="228"/>
                  </a:lnTo>
                  <a:lnTo>
                    <a:pt x="336" y="224"/>
                  </a:lnTo>
                  <a:lnTo>
                    <a:pt x="340" y="218"/>
                  </a:lnTo>
                  <a:lnTo>
                    <a:pt x="344" y="210"/>
                  </a:lnTo>
                  <a:lnTo>
                    <a:pt x="344" y="210"/>
                  </a:lnTo>
                  <a:lnTo>
                    <a:pt x="344" y="200"/>
                  </a:lnTo>
                  <a:lnTo>
                    <a:pt x="342" y="192"/>
                  </a:lnTo>
                  <a:lnTo>
                    <a:pt x="338" y="186"/>
                  </a:lnTo>
                  <a:lnTo>
                    <a:pt x="332" y="184"/>
                  </a:lnTo>
                  <a:lnTo>
                    <a:pt x="332" y="184"/>
                  </a:lnTo>
                  <a:lnTo>
                    <a:pt x="326" y="180"/>
                  </a:lnTo>
                  <a:lnTo>
                    <a:pt x="320" y="174"/>
                  </a:lnTo>
                  <a:lnTo>
                    <a:pt x="316" y="166"/>
                  </a:lnTo>
                  <a:lnTo>
                    <a:pt x="316" y="160"/>
                  </a:lnTo>
                  <a:lnTo>
                    <a:pt x="316" y="160"/>
                  </a:lnTo>
                  <a:lnTo>
                    <a:pt x="316" y="156"/>
                  </a:lnTo>
                  <a:lnTo>
                    <a:pt x="320" y="152"/>
                  </a:lnTo>
                  <a:lnTo>
                    <a:pt x="324" y="148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6" y="142"/>
                  </a:lnTo>
                  <a:lnTo>
                    <a:pt x="340" y="136"/>
                  </a:lnTo>
                  <a:lnTo>
                    <a:pt x="340" y="128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36" y="110"/>
                  </a:lnTo>
                  <a:lnTo>
                    <a:pt x="330" y="104"/>
                  </a:lnTo>
                  <a:lnTo>
                    <a:pt x="322" y="102"/>
                  </a:lnTo>
                  <a:lnTo>
                    <a:pt x="316" y="102"/>
                  </a:lnTo>
                  <a:lnTo>
                    <a:pt x="316" y="102"/>
                  </a:lnTo>
                  <a:lnTo>
                    <a:pt x="308" y="102"/>
                  </a:lnTo>
                  <a:lnTo>
                    <a:pt x="302" y="98"/>
                  </a:lnTo>
                  <a:lnTo>
                    <a:pt x="294" y="94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88" y="86"/>
                  </a:lnTo>
                  <a:lnTo>
                    <a:pt x="290" y="82"/>
                  </a:lnTo>
                  <a:lnTo>
                    <a:pt x="292" y="76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8" y="64"/>
                  </a:lnTo>
                  <a:lnTo>
                    <a:pt x="298" y="56"/>
                  </a:lnTo>
                  <a:lnTo>
                    <a:pt x="296" y="50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2" y="38"/>
                  </a:lnTo>
                  <a:lnTo>
                    <a:pt x="274" y="34"/>
                  </a:lnTo>
                  <a:lnTo>
                    <a:pt x="268" y="36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56" y="42"/>
                  </a:lnTo>
                  <a:lnTo>
                    <a:pt x="246" y="44"/>
                  </a:lnTo>
                  <a:lnTo>
                    <a:pt x="238" y="44"/>
                  </a:lnTo>
                  <a:lnTo>
                    <a:pt x="234" y="42"/>
                  </a:lnTo>
                  <a:lnTo>
                    <a:pt x="234" y="42"/>
                  </a:lnTo>
                  <a:lnTo>
                    <a:pt x="230" y="40"/>
                  </a:lnTo>
                  <a:lnTo>
                    <a:pt x="228" y="34"/>
                  </a:lnTo>
                  <a:lnTo>
                    <a:pt x="228" y="28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16"/>
                  </a:lnTo>
                  <a:lnTo>
                    <a:pt x="224" y="8"/>
                  </a:lnTo>
                  <a:lnTo>
                    <a:pt x="218" y="4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0" y="18"/>
                  </a:lnTo>
                  <a:lnTo>
                    <a:pt x="172" y="24"/>
                  </a:lnTo>
                  <a:lnTo>
                    <a:pt x="166" y="28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56" y="28"/>
                  </a:lnTo>
                  <a:lnTo>
                    <a:pt x="152" y="26"/>
                  </a:lnTo>
                  <a:lnTo>
                    <a:pt x="148" y="20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2" y="8"/>
                  </a:lnTo>
                  <a:lnTo>
                    <a:pt x="136" y="4"/>
                  </a:lnTo>
                  <a:lnTo>
                    <a:pt x="128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10"/>
                  </a:lnTo>
                  <a:lnTo>
                    <a:pt x="104" y="14"/>
                  </a:lnTo>
                  <a:lnTo>
                    <a:pt x="102" y="22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36"/>
                  </a:lnTo>
                  <a:lnTo>
                    <a:pt x="98" y="44"/>
                  </a:lnTo>
                  <a:lnTo>
                    <a:pt x="94" y="50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6" y="56"/>
                  </a:lnTo>
                  <a:lnTo>
                    <a:pt x="80" y="54"/>
                  </a:lnTo>
                  <a:lnTo>
                    <a:pt x="76" y="52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4" y="46"/>
                  </a:lnTo>
                  <a:lnTo>
                    <a:pt x="56" y="46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36" y="62"/>
                  </a:lnTo>
                  <a:lnTo>
                    <a:pt x="34" y="70"/>
                  </a:lnTo>
                  <a:lnTo>
                    <a:pt x="36" y="78"/>
                  </a:lnTo>
                  <a:lnTo>
                    <a:pt x="38" y="82"/>
                  </a:lnTo>
                  <a:lnTo>
                    <a:pt x="38" y="82"/>
                  </a:lnTo>
                  <a:close/>
                  <a:moveTo>
                    <a:pt x="142" y="76"/>
                  </a:moveTo>
                  <a:lnTo>
                    <a:pt x="142" y="76"/>
                  </a:lnTo>
                  <a:lnTo>
                    <a:pt x="162" y="72"/>
                  </a:lnTo>
                  <a:lnTo>
                    <a:pt x="180" y="72"/>
                  </a:lnTo>
                  <a:lnTo>
                    <a:pt x="200" y="76"/>
                  </a:lnTo>
                  <a:lnTo>
                    <a:pt x="218" y="82"/>
                  </a:lnTo>
                  <a:lnTo>
                    <a:pt x="234" y="94"/>
                  </a:lnTo>
                  <a:lnTo>
                    <a:pt x="248" y="106"/>
                  </a:lnTo>
                  <a:lnTo>
                    <a:pt x="260" y="122"/>
                  </a:lnTo>
                  <a:lnTo>
                    <a:pt x="268" y="142"/>
                  </a:lnTo>
                  <a:lnTo>
                    <a:pt x="268" y="142"/>
                  </a:lnTo>
                  <a:lnTo>
                    <a:pt x="272" y="162"/>
                  </a:lnTo>
                  <a:lnTo>
                    <a:pt x="272" y="182"/>
                  </a:lnTo>
                  <a:lnTo>
                    <a:pt x="268" y="200"/>
                  </a:lnTo>
                  <a:lnTo>
                    <a:pt x="262" y="218"/>
                  </a:lnTo>
                  <a:lnTo>
                    <a:pt x="252" y="234"/>
                  </a:lnTo>
                  <a:lnTo>
                    <a:pt x="238" y="248"/>
                  </a:lnTo>
                  <a:lnTo>
                    <a:pt x="222" y="260"/>
                  </a:lnTo>
                  <a:lnTo>
                    <a:pt x="202" y="268"/>
                  </a:lnTo>
                  <a:lnTo>
                    <a:pt x="202" y="268"/>
                  </a:lnTo>
                  <a:lnTo>
                    <a:pt x="182" y="272"/>
                  </a:lnTo>
                  <a:lnTo>
                    <a:pt x="164" y="272"/>
                  </a:lnTo>
                  <a:lnTo>
                    <a:pt x="144" y="270"/>
                  </a:lnTo>
                  <a:lnTo>
                    <a:pt x="126" y="262"/>
                  </a:lnTo>
                  <a:lnTo>
                    <a:pt x="110" y="252"/>
                  </a:lnTo>
                  <a:lnTo>
                    <a:pt x="96" y="238"/>
                  </a:lnTo>
                  <a:lnTo>
                    <a:pt x="84" y="222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2" y="184"/>
                  </a:lnTo>
                  <a:lnTo>
                    <a:pt x="72" y="164"/>
                  </a:lnTo>
                  <a:lnTo>
                    <a:pt x="76" y="144"/>
                  </a:lnTo>
                  <a:lnTo>
                    <a:pt x="82" y="126"/>
                  </a:lnTo>
                  <a:lnTo>
                    <a:pt x="92" y="110"/>
                  </a:lnTo>
                  <a:lnTo>
                    <a:pt x="106" y="96"/>
                  </a:lnTo>
                  <a:lnTo>
                    <a:pt x="122" y="84"/>
                  </a:lnTo>
                  <a:lnTo>
                    <a:pt x="142" y="76"/>
                  </a:lnTo>
                  <a:lnTo>
                    <a:pt x="142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4261B191-2A56-08CF-02B8-963FB89759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8593" y="2025650"/>
              <a:ext cx="352425" cy="34925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14" y="74"/>
                </a:cxn>
                <a:cxn ang="0">
                  <a:pos x="0" y="86"/>
                </a:cxn>
                <a:cxn ang="0">
                  <a:pos x="8" y="102"/>
                </a:cxn>
                <a:cxn ang="0">
                  <a:pos x="18" y="120"/>
                </a:cxn>
                <a:cxn ang="0">
                  <a:pos x="4" y="134"/>
                </a:cxn>
                <a:cxn ang="0">
                  <a:pos x="10" y="154"/>
                </a:cxn>
                <a:cxn ang="0">
                  <a:pos x="30" y="156"/>
                </a:cxn>
                <a:cxn ang="0">
                  <a:pos x="32" y="176"/>
                </a:cxn>
                <a:cxn ang="0">
                  <a:pos x="36" y="194"/>
                </a:cxn>
                <a:cxn ang="0">
                  <a:pos x="54" y="196"/>
                </a:cxn>
                <a:cxn ang="0">
                  <a:pos x="72" y="194"/>
                </a:cxn>
                <a:cxn ang="0">
                  <a:pos x="76" y="212"/>
                </a:cxn>
                <a:cxn ang="0">
                  <a:pos x="94" y="220"/>
                </a:cxn>
                <a:cxn ang="0">
                  <a:pos x="106" y="208"/>
                </a:cxn>
                <a:cxn ang="0">
                  <a:pos x="124" y="204"/>
                </a:cxn>
                <a:cxn ang="0">
                  <a:pos x="140" y="218"/>
                </a:cxn>
                <a:cxn ang="0">
                  <a:pos x="156" y="208"/>
                </a:cxn>
                <a:cxn ang="0">
                  <a:pos x="164" y="186"/>
                </a:cxn>
                <a:cxn ang="0">
                  <a:pos x="176" y="190"/>
                </a:cxn>
                <a:cxn ang="0">
                  <a:pos x="194" y="186"/>
                </a:cxn>
                <a:cxn ang="0">
                  <a:pos x="196" y="168"/>
                </a:cxn>
                <a:cxn ang="0">
                  <a:pos x="196" y="148"/>
                </a:cxn>
                <a:cxn ang="0">
                  <a:pos x="216" y="144"/>
                </a:cxn>
                <a:cxn ang="0">
                  <a:pos x="220" y="122"/>
                </a:cxn>
                <a:cxn ang="0">
                  <a:pos x="206" y="110"/>
                </a:cxn>
                <a:cxn ang="0">
                  <a:pos x="212" y="92"/>
                </a:cxn>
                <a:cxn ang="0">
                  <a:pos x="218" y="76"/>
                </a:cxn>
                <a:cxn ang="0">
                  <a:pos x="204" y="64"/>
                </a:cxn>
                <a:cxn ang="0">
                  <a:pos x="188" y="58"/>
                </a:cxn>
                <a:cxn ang="0">
                  <a:pos x="192" y="40"/>
                </a:cxn>
                <a:cxn ang="0">
                  <a:pos x="182" y="22"/>
                </a:cxn>
                <a:cxn ang="0">
                  <a:pos x="164" y="26"/>
                </a:cxn>
                <a:cxn ang="0">
                  <a:pos x="148" y="22"/>
                </a:cxn>
                <a:cxn ang="0">
                  <a:pos x="140" y="2"/>
                </a:cxn>
                <a:cxn ang="0">
                  <a:pos x="120" y="4"/>
                </a:cxn>
                <a:cxn ang="0">
                  <a:pos x="104" y="18"/>
                </a:cxn>
                <a:cxn ang="0">
                  <a:pos x="94" y="8"/>
                </a:cxn>
                <a:cxn ang="0">
                  <a:pos x="76" y="2"/>
                </a:cxn>
                <a:cxn ang="0">
                  <a:pos x="66" y="18"/>
                </a:cxn>
                <a:cxn ang="0">
                  <a:pos x="56" y="34"/>
                </a:cxn>
                <a:cxn ang="0">
                  <a:pos x="36" y="28"/>
                </a:cxn>
                <a:cxn ang="0">
                  <a:pos x="22" y="44"/>
                </a:cxn>
                <a:cxn ang="0">
                  <a:pos x="92" y="48"/>
                </a:cxn>
                <a:cxn ang="0">
                  <a:pos x="152" y="58"/>
                </a:cxn>
                <a:cxn ang="0">
                  <a:pos x="176" y="102"/>
                </a:cxn>
                <a:cxn ang="0">
                  <a:pos x="154" y="160"/>
                </a:cxn>
                <a:cxn ang="0">
                  <a:pos x="106" y="174"/>
                </a:cxn>
                <a:cxn ang="0">
                  <a:pos x="54" y="142"/>
                </a:cxn>
                <a:cxn ang="0">
                  <a:pos x="48" y="92"/>
                </a:cxn>
                <a:cxn ang="0">
                  <a:pos x="92" y="48"/>
                </a:cxn>
              </a:cxnLst>
              <a:rect l="0" t="0" r="r" b="b"/>
              <a:pathLst>
                <a:path w="222" h="220">
                  <a:moveTo>
                    <a:pt x="26" y="52"/>
                  </a:moveTo>
                  <a:lnTo>
                    <a:pt x="26" y="52"/>
                  </a:lnTo>
                  <a:lnTo>
                    <a:pt x="28" y="56"/>
                  </a:lnTo>
                  <a:lnTo>
                    <a:pt x="28" y="62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6" y="72"/>
                  </a:lnTo>
                  <a:lnTo>
                    <a:pt x="2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2" y="8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2" y="98"/>
                  </a:lnTo>
                  <a:lnTo>
                    <a:pt x="4" y="100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12" y="106"/>
                  </a:lnTo>
                  <a:lnTo>
                    <a:pt x="16" y="110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6" y="130"/>
                  </a:lnTo>
                  <a:lnTo>
                    <a:pt x="4" y="134"/>
                  </a:lnTo>
                  <a:lnTo>
                    <a:pt x="2" y="138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6" y="150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6" y="154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4" y="166"/>
                  </a:lnTo>
                  <a:lnTo>
                    <a:pt x="34" y="172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0" y="180"/>
                  </a:lnTo>
                  <a:lnTo>
                    <a:pt x="30" y="184"/>
                  </a:lnTo>
                  <a:lnTo>
                    <a:pt x="32" y="190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0" y="196"/>
                  </a:lnTo>
                  <a:lnTo>
                    <a:pt x="46" y="198"/>
                  </a:lnTo>
                  <a:lnTo>
                    <a:pt x="50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8" y="194"/>
                  </a:lnTo>
                  <a:lnTo>
                    <a:pt x="62" y="192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6" y="212"/>
                  </a:lnTo>
                  <a:lnTo>
                    <a:pt x="78" y="216"/>
                  </a:lnTo>
                  <a:lnTo>
                    <a:pt x="82" y="218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4" y="220"/>
                  </a:lnTo>
                  <a:lnTo>
                    <a:pt x="98" y="220"/>
                  </a:lnTo>
                  <a:lnTo>
                    <a:pt x="102" y="216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06" y="208"/>
                  </a:lnTo>
                  <a:lnTo>
                    <a:pt x="110" y="206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22" y="202"/>
                  </a:lnTo>
                  <a:lnTo>
                    <a:pt x="124" y="204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30" y="216"/>
                  </a:lnTo>
                  <a:lnTo>
                    <a:pt x="134" y="218"/>
                  </a:lnTo>
                  <a:lnTo>
                    <a:pt x="140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50" y="214"/>
                  </a:lnTo>
                  <a:lnTo>
                    <a:pt x="154" y="212"/>
                  </a:lnTo>
                  <a:lnTo>
                    <a:pt x="156" y="208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6" y="198"/>
                  </a:lnTo>
                  <a:lnTo>
                    <a:pt x="158" y="192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6"/>
                  </a:lnTo>
                  <a:lnTo>
                    <a:pt x="170" y="186"/>
                  </a:lnTo>
                  <a:lnTo>
                    <a:pt x="176" y="190"/>
                  </a:lnTo>
                  <a:lnTo>
                    <a:pt x="176" y="190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90" y="190"/>
                  </a:lnTo>
                  <a:lnTo>
                    <a:pt x="194" y="186"/>
                  </a:lnTo>
                  <a:lnTo>
                    <a:pt x="194" y="186"/>
                  </a:lnTo>
                  <a:lnTo>
                    <a:pt x="198" y="180"/>
                  </a:lnTo>
                  <a:lnTo>
                    <a:pt x="200" y="176"/>
                  </a:lnTo>
                  <a:lnTo>
                    <a:pt x="200" y="172"/>
                  </a:lnTo>
                  <a:lnTo>
                    <a:pt x="196" y="168"/>
                  </a:lnTo>
                  <a:lnTo>
                    <a:pt x="196" y="168"/>
                  </a:lnTo>
                  <a:lnTo>
                    <a:pt x="194" y="164"/>
                  </a:lnTo>
                  <a:lnTo>
                    <a:pt x="194" y="158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6" y="148"/>
                  </a:lnTo>
                  <a:lnTo>
                    <a:pt x="200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12" y="146"/>
                  </a:lnTo>
                  <a:lnTo>
                    <a:pt x="216" y="144"/>
                  </a:lnTo>
                  <a:lnTo>
                    <a:pt x="220" y="140"/>
                  </a:lnTo>
                  <a:lnTo>
                    <a:pt x="222" y="134"/>
                  </a:lnTo>
                  <a:lnTo>
                    <a:pt x="222" y="134"/>
                  </a:lnTo>
                  <a:lnTo>
                    <a:pt x="222" y="128"/>
                  </a:lnTo>
                  <a:lnTo>
                    <a:pt x="220" y="122"/>
                  </a:lnTo>
                  <a:lnTo>
                    <a:pt x="218" y="118"/>
                  </a:lnTo>
                  <a:lnTo>
                    <a:pt x="214" y="116"/>
                  </a:lnTo>
                  <a:lnTo>
                    <a:pt x="214" y="116"/>
                  </a:lnTo>
                  <a:lnTo>
                    <a:pt x="210" y="114"/>
                  </a:lnTo>
                  <a:lnTo>
                    <a:pt x="206" y="110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4" y="100"/>
                  </a:lnTo>
                  <a:lnTo>
                    <a:pt x="206" y="96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6" y="90"/>
                  </a:lnTo>
                  <a:lnTo>
                    <a:pt x="218" y="86"/>
                  </a:lnTo>
                  <a:lnTo>
                    <a:pt x="220" y="82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6" y="70"/>
                  </a:lnTo>
                  <a:lnTo>
                    <a:pt x="212" y="66"/>
                  </a:lnTo>
                  <a:lnTo>
                    <a:pt x="208" y="64"/>
                  </a:lnTo>
                  <a:lnTo>
                    <a:pt x="204" y="64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194" y="62"/>
                  </a:lnTo>
                  <a:lnTo>
                    <a:pt x="188" y="58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2" y="40"/>
                  </a:lnTo>
                  <a:lnTo>
                    <a:pt x="192" y="36"/>
                  </a:lnTo>
                  <a:lnTo>
                    <a:pt x="190" y="30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2" y="22"/>
                  </a:lnTo>
                  <a:lnTo>
                    <a:pt x="178" y="22"/>
                  </a:lnTo>
                  <a:lnTo>
                    <a:pt x="172" y="22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4" y="26"/>
                  </a:lnTo>
                  <a:lnTo>
                    <a:pt x="160" y="28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8" y="24"/>
                  </a:lnTo>
                  <a:lnTo>
                    <a:pt x="148" y="22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8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4" y="0"/>
                  </a:lnTo>
                  <a:lnTo>
                    <a:pt x="120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6" y="10"/>
                  </a:lnTo>
                  <a:lnTo>
                    <a:pt x="112" y="14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1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8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2"/>
                  </a:lnTo>
                  <a:lnTo>
                    <a:pt x="64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28"/>
                  </a:lnTo>
                  <a:lnTo>
                    <a:pt x="36" y="28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4" y="38"/>
                  </a:lnTo>
                  <a:lnTo>
                    <a:pt x="22" y="44"/>
                  </a:lnTo>
                  <a:lnTo>
                    <a:pt x="24" y="48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92" y="48"/>
                  </a:moveTo>
                  <a:lnTo>
                    <a:pt x="92" y="48"/>
                  </a:lnTo>
                  <a:lnTo>
                    <a:pt x="104" y="46"/>
                  </a:lnTo>
                  <a:lnTo>
                    <a:pt x="116" y="46"/>
                  </a:lnTo>
                  <a:lnTo>
                    <a:pt x="130" y="48"/>
                  </a:lnTo>
                  <a:lnTo>
                    <a:pt x="140" y="52"/>
                  </a:lnTo>
                  <a:lnTo>
                    <a:pt x="152" y="58"/>
                  </a:lnTo>
                  <a:lnTo>
                    <a:pt x="160" y="68"/>
                  </a:lnTo>
                  <a:lnTo>
                    <a:pt x="168" y="7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76" y="102"/>
                  </a:lnTo>
                  <a:lnTo>
                    <a:pt x="176" y="116"/>
                  </a:lnTo>
                  <a:lnTo>
                    <a:pt x="174" y="128"/>
                  </a:lnTo>
                  <a:lnTo>
                    <a:pt x="168" y="140"/>
                  </a:lnTo>
                  <a:lnTo>
                    <a:pt x="162" y="150"/>
                  </a:lnTo>
                  <a:lnTo>
                    <a:pt x="154" y="160"/>
                  </a:lnTo>
                  <a:lnTo>
                    <a:pt x="144" y="166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18" y="174"/>
                  </a:lnTo>
                  <a:lnTo>
                    <a:pt x="106" y="174"/>
                  </a:lnTo>
                  <a:lnTo>
                    <a:pt x="94" y="172"/>
                  </a:lnTo>
                  <a:lnTo>
                    <a:pt x="82" y="168"/>
                  </a:lnTo>
                  <a:lnTo>
                    <a:pt x="70" y="160"/>
                  </a:lnTo>
                  <a:lnTo>
                    <a:pt x="62" y="152"/>
                  </a:lnTo>
                  <a:lnTo>
                    <a:pt x="54" y="142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6" y="116"/>
                  </a:lnTo>
                  <a:lnTo>
                    <a:pt x="46" y="104"/>
                  </a:lnTo>
                  <a:lnTo>
                    <a:pt x="48" y="92"/>
                  </a:lnTo>
                  <a:lnTo>
                    <a:pt x="54" y="80"/>
                  </a:lnTo>
                  <a:lnTo>
                    <a:pt x="60" y="70"/>
                  </a:lnTo>
                  <a:lnTo>
                    <a:pt x="68" y="60"/>
                  </a:lnTo>
                  <a:lnTo>
                    <a:pt x="80" y="54"/>
                  </a:lnTo>
                  <a:lnTo>
                    <a:pt x="92" y="48"/>
                  </a:lnTo>
                  <a:lnTo>
                    <a:pt x="9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EE1C0F35-2439-B082-0C83-1571AF7F8F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776" y="2378075"/>
              <a:ext cx="269874" cy="269875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0" y="58"/>
                </a:cxn>
                <a:cxn ang="0">
                  <a:pos x="2" y="62"/>
                </a:cxn>
                <a:cxn ang="0">
                  <a:pos x="0" y="76"/>
                </a:cxn>
                <a:cxn ang="0">
                  <a:pos x="8" y="82"/>
                </a:cxn>
                <a:cxn ang="0">
                  <a:pos x="12" y="96"/>
                </a:cxn>
                <a:cxn ang="0">
                  <a:pos x="2" y="104"/>
                </a:cxn>
                <a:cxn ang="0">
                  <a:pos x="4" y="116"/>
                </a:cxn>
                <a:cxn ang="0">
                  <a:pos x="14" y="120"/>
                </a:cxn>
                <a:cxn ang="0">
                  <a:pos x="24" y="128"/>
                </a:cxn>
                <a:cxn ang="0">
                  <a:pos x="22" y="138"/>
                </a:cxn>
                <a:cxn ang="0">
                  <a:pos x="26" y="150"/>
                </a:cxn>
                <a:cxn ang="0">
                  <a:pos x="40" y="152"/>
                </a:cxn>
                <a:cxn ang="0">
                  <a:pos x="54" y="150"/>
                </a:cxn>
                <a:cxn ang="0">
                  <a:pos x="56" y="160"/>
                </a:cxn>
                <a:cxn ang="0">
                  <a:pos x="66" y="170"/>
                </a:cxn>
                <a:cxn ang="0">
                  <a:pos x="78" y="168"/>
                </a:cxn>
                <a:cxn ang="0">
                  <a:pos x="84" y="158"/>
                </a:cxn>
                <a:cxn ang="0">
                  <a:pos x="98" y="164"/>
                </a:cxn>
                <a:cxn ang="0">
                  <a:pos x="106" y="168"/>
                </a:cxn>
                <a:cxn ang="0">
                  <a:pos x="118" y="164"/>
                </a:cxn>
                <a:cxn ang="0">
                  <a:pos x="120" y="154"/>
                </a:cxn>
                <a:cxn ang="0">
                  <a:pos x="130" y="144"/>
                </a:cxn>
                <a:cxn ang="0">
                  <a:pos x="142" y="148"/>
                </a:cxn>
                <a:cxn ang="0">
                  <a:pos x="152" y="140"/>
                </a:cxn>
                <a:cxn ang="0">
                  <a:pos x="150" y="130"/>
                </a:cxn>
                <a:cxn ang="0">
                  <a:pos x="148" y="116"/>
                </a:cxn>
                <a:cxn ang="0">
                  <a:pos x="162" y="112"/>
                </a:cxn>
                <a:cxn ang="0">
                  <a:pos x="170" y="104"/>
                </a:cxn>
                <a:cxn ang="0">
                  <a:pos x="164" y="90"/>
                </a:cxn>
                <a:cxn ang="0">
                  <a:pos x="156" y="80"/>
                </a:cxn>
                <a:cxn ang="0">
                  <a:pos x="162" y="72"/>
                </a:cxn>
                <a:cxn ang="0">
                  <a:pos x="168" y="58"/>
                </a:cxn>
                <a:cxn ang="0">
                  <a:pos x="160" y="50"/>
                </a:cxn>
                <a:cxn ang="0">
                  <a:pos x="148" y="48"/>
                </a:cxn>
                <a:cxn ang="0">
                  <a:pos x="146" y="34"/>
                </a:cxn>
                <a:cxn ang="0">
                  <a:pos x="146" y="24"/>
                </a:cxn>
                <a:cxn ang="0">
                  <a:pos x="136" y="18"/>
                </a:cxn>
                <a:cxn ang="0">
                  <a:pos x="126" y="22"/>
                </a:cxn>
                <a:cxn ang="0">
                  <a:pos x="112" y="18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70" y="4"/>
                </a:cxn>
                <a:cxn ang="0">
                  <a:pos x="58" y="2"/>
                </a:cxn>
                <a:cxn ang="0">
                  <a:pos x="50" y="14"/>
                </a:cxn>
                <a:cxn ang="0">
                  <a:pos x="44" y="26"/>
                </a:cxn>
                <a:cxn ang="0">
                  <a:pos x="34" y="24"/>
                </a:cxn>
                <a:cxn ang="0">
                  <a:pos x="20" y="28"/>
                </a:cxn>
                <a:cxn ang="0">
                  <a:pos x="16" y="38"/>
                </a:cxn>
                <a:cxn ang="0">
                  <a:pos x="70" y="38"/>
                </a:cxn>
                <a:cxn ang="0">
                  <a:pos x="108" y="40"/>
                </a:cxn>
                <a:cxn ang="0">
                  <a:pos x="132" y="70"/>
                </a:cxn>
                <a:cxn ang="0">
                  <a:pos x="132" y="100"/>
                </a:cxn>
                <a:cxn ang="0">
                  <a:pos x="108" y="128"/>
                </a:cxn>
                <a:cxn ang="0">
                  <a:pos x="80" y="136"/>
                </a:cxn>
                <a:cxn ang="0">
                  <a:pos x="46" y="118"/>
                </a:cxn>
                <a:cxn ang="0">
                  <a:pos x="34" y="90"/>
                </a:cxn>
                <a:cxn ang="0">
                  <a:pos x="46" y="54"/>
                </a:cxn>
                <a:cxn ang="0">
                  <a:pos x="70" y="38"/>
                </a:cxn>
              </a:cxnLst>
              <a:rect l="0" t="0" r="r" b="b"/>
              <a:pathLst>
                <a:path w="170" h="170">
                  <a:moveTo>
                    <a:pt x="18" y="42"/>
                  </a:moveTo>
                  <a:lnTo>
                    <a:pt x="18" y="42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6" y="58"/>
                  </a:lnTo>
                  <a:lnTo>
                    <a:pt x="4" y="60"/>
                  </a:lnTo>
                  <a:lnTo>
                    <a:pt x="2" y="6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2"/>
                  </a:lnTo>
                  <a:lnTo>
                    <a:pt x="10" y="86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6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100"/>
                  </a:lnTo>
                  <a:lnTo>
                    <a:pt x="2" y="104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8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8"/>
                  </a:lnTo>
                  <a:lnTo>
                    <a:pt x="22" y="142"/>
                  </a:lnTo>
                  <a:lnTo>
                    <a:pt x="24" y="146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30" y="152"/>
                  </a:lnTo>
                  <a:lnTo>
                    <a:pt x="34" y="154"/>
                  </a:lnTo>
                  <a:lnTo>
                    <a:pt x="38" y="154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4" y="150"/>
                  </a:lnTo>
                  <a:lnTo>
                    <a:pt x="48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6" y="154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4"/>
                  </a:lnTo>
                  <a:lnTo>
                    <a:pt x="58" y="166"/>
                  </a:lnTo>
                  <a:lnTo>
                    <a:pt x="62" y="168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70" y="170"/>
                  </a:lnTo>
                  <a:lnTo>
                    <a:pt x="74" y="170"/>
                  </a:lnTo>
                  <a:lnTo>
                    <a:pt x="78" y="168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4" y="158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4" y="158"/>
                  </a:lnTo>
                  <a:lnTo>
                    <a:pt x="98" y="164"/>
                  </a:lnTo>
                  <a:lnTo>
                    <a:pt x="98" y="164"/>
                  </a:lnTo>
                  <a:lnTo>
                    <a:pt x="100" y="166"/>
                  </a:lnTo>
                  <a:lnTo>
                    <a:pt x="102" y="168"/>
                  </a:lnTo>
                  <a:lnTo>
                    <a:pt x="106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6" y="166"/>
                  </a:lnTo>
                  <a:lnTo>
                    <a:pt x="118" y="164"/>
                  </a:lnTo>
                  <a:lnTo>
                    <a:pt x="120" y="160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0" y="154"/>
                  </a:lnTo>
                  <a:lnTo>
                    <a:pt x="120" y="150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30" y="144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8" y="148"/>
                  </a:lnTo>
                  <a:lnTo>
                    <a:pt x="142" y="148"/>
                  </a:lnTo>
                  <a:lnTo>
                    <a:pt x="146" y="146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52" y="140"/>
                  </a:lnTo>
                  <a:lnTo>
                    <a:pt x="152" y="136"/>
                  </a:lnTo>
                  <a:lnTo>
                    <a:pt x="152" y="132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48" y="126"/>
                  </a:lnTo>
                  <a:lnTo>
                    <a:pt x="148" y="122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2" y="112"/>
                  </a:lnTo>
                  <a:lnTo>
                    <a:pt x="166" y="112"/>
                  </a:lnTo>
                  <a:lnTo>
                    <a:pt x="168" y="108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0"/>
                  </a:lnTo>
                  <a:lnTo>
                    <a:pt x="168" y="96"/>
                  </a:lnTo>
                  <a:lnTo>
                    <a:pt x="166" y="92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0" y="90"/>
                  </a:lnTo>
                  <a:lnTo>
                    <a:pt x="158" y="8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8" y="76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6" y="70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6" y="54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6" y="50"/>
                  </a:lnTo>
                  <a:lnTo>
                    <a:pt x="156" y="50"/>
                  </a:lnTo>
                  <a:lnTo>
                    <a:pt x="152" y="50"/>
                  </a:lnTo>
                  <a:lnTo>
                    <a:pt x="148" y="48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2"/>
                  </a:lnTo>
                  <a:lnTo>
                    <a:pt x="148" y="28"/>
                  </a:lnTo>
                  <a:lnTo>
                    <a:pt x="146" y="24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2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2" y="18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0" y="4"/>
                  </a:lnTo>
                  <a:lnTo>
                    <a:pt x="106" y="2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8" y="10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4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48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30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8" y="42"/>
                  </a:lnTo>
                  <a:lnTo>
                    <a:pt x="18" y="42"/>
                  </a:lnTo>
                  <a:close/>
                  <a:moveTo>
                    <a:pt x="70" y="38"/>
                  </a:moveTo>
                  <a:lnTo>
                    <a:pt x="70" y="38"/>
                  </a:lnTo>
                  <a:lnTo>
                    <a:pt x="78" y="36"/>
                  </a:lnTo>
                  <a:lnTo>
                    <a:pt x="88" y="36"/>
                  </a:lnTo>
                  <a:lnTo>
                    <a:pt x="98" y="38"/>
                  </a:lnTo>
                  <a:lnTo>
                    <a:pt x="108" y="40"/>
                  </a:lnTo>
                  <a:lnTo>
                    <a:pt x="116" y="46"/>
                  </a:lnTo>
                  <a:lnTo>
                    <a:pt x="122" y="52"/>
                  </a:lnTo>
                  <a:lnTo>
                    <a:pt x="128" y="6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4" y="80"/>
                  </a:lnTo>
                  <a:lnTo>
                    <a:pt x="134" y="90"/>
                  </a:lnTo>
                  <a:lnTo>
                    <a:pt x="132" y="100"/>
                  </a:lnTo>
                  <a:lnTo>
                    <a:pt x="128" y="108"/>
                  </a:lnTo>
                  <a:lnTo>
                    <a:pt x="124" y="116"/>
                  </a:lnTo>
                  <a:lnTo>
                    <a:pt x="116" y="124"/>
                  </a:lnTo>
                  <a:lnTo>
                    <a:pt x="108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0" y="134"/>
                  </a:lnTo>
                  <a:lnTo>
                    <a:pt x="80" y="136"/>
                  </a:lnTo>
                  <a:lnTo>
                    <a:pt x="70" y="134"/>
                  </a:lnTo>
                  <a:lnTo>
                    <a:pt x="62" y="130"/>
                  </a:lnTo>
                  <a:lnTo>
                    <a:pt x="54" y="124"/>
                  </a:lnTo>
                  <a:lnTo>
                    <a:pt x="46" y="118"/>
                  </a:lnTo>
                  <a:lnTo>
                    <a:pt x="40" y="11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4" y="90"/>
                  </a:lnTo>
                  <a:lnTo>
                    <a:pt x="34" y="80"/>
                  </a:lnTo>
                  <a:lnTo>
                    <a:pt x="36" y="72"/>
                  </a:lnTo>
                  <a:lnTo>
                    <a:pt x="40" y="62"/>
                  </a:lnTo>
                  <a:lnTo>
                    <a:pt x="46" y="54"/>
                  </a:lnTo>
                  <a:lnTo>
                    <a:pt x="52" y="48"/>
                  </a:lnTo>
                  <a:lnTo>
                    <a:pt x="60" y="42"/>
                  </a:lnTo>
                  <a:lnTo>
                    <a:pt x="70" y="38"/>
                  </a:lnTo>
                  <a:lnTo>
                    <a:pt x="7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21" name="Tabulka 20">
            <a:extLst>
              <a:ext uri="{FF2B5EF4-FFF2-40B4-BE49-F238E27FC236}">
                <a16:creationId xmlns:a16="http://schemas.microsoft.com/office/drawing/2014/main" id="{A0DD16E4-EB07-30A5-5DE0-444B8F1538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47196"/>
              </p:ext>
            </p:extLst>
          </p:nvPr>
        </p:nvGraphicFramePr>
        <p:xfrm>
          <a:off x="2543354" y="3338189"/>
          <a:ext cx="7551996" cy="3276720"/>
        </p:xfrm>
        <a:graphic>
          <a:graphicData uri="http://schemas.openxmlformats.org/drawingml/2006/table">
            <a:tbl>
              <a:tblPr firstRow="1" bandRow="1"/>
              <a:tblGrid>
                <a:gridCol w="75519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87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běr proběhl 1. 2. – 14. 2. 2023</a:t>
                      </a:r>
                      <a:endParaRPr lang="cs-CZ" sz="1800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7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b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běr proběhl 30.10. – 6.11.2023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cs-CZ" sz="1800" b="1" kern="120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7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běr proběhl 6. 3. 2024 – 20. 3. 2024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7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4" name="Rectangle 1">
            <a:extLst>
              <a:ext uri="{FF2B5EF4-FFF2-40B4-BE49-F238E27FC236}">
                <a16:creationId xmlns:a16="http://schemas.microsoft.com/office/drawing/2014/main" id="{A7A26170-CAB6-748D-69D0-9924973AA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AF5554B8-E20D-F46E-369E-411CB9C8F05E}"/>
              </a:ext>
            </a:extLst>
          </p:cNvPr>
          <p:cNvSpPr txBox="1"/>
          <p:nvPr/>
        </p:nvSpPr>
        <p:spPr>
          <a:xfrm>
            <a:off x="459206" y="2679720"/>
            <a:ext cx="979223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chemeClr val="bg1"/>
                </a:solidFill>
              </a:rPr>
              <a:t>3 REALIZOVANÉ PRŮZKUMY V PRŮBĚHU POSLEDNÍHO ROKU </a:t>
            </a:r>
          </a:p>
        </p:txBody>
      </p:sp>
    </p:spTree>
    <p:extLst>
      <p:ext uri="{BB962C8B-B14F-4D97-AF65-F5344CB8AC3E}">
        <p14:creationId xmlns:p14="http://schemas.microsoft.com/office/powerpoint/2010/main" val="14741932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7" y="403225"/>
            <a:ext cx="10215676" cy="701731"/>
          </a:xfrm>
        </p:spPr>
        <p:txBody>
          <a:bodyPr/>
          <a:lstStyle/>
          <a:p>
            <a:r>
              <a:rPr lang="cs-CZ" sz="2200" dirty="0"/>
              <a:t>Více než 6 z 10 firem nemají nastaveny cíle související s esg. Ti, kteří mají nastavené cíle, mívají často problémy s jejich měřením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890384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áte dnes již nastavené cíle související s ESG? A umíte tyto cíle měřit?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621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18. Máte dnes již nastavené cíle související s ESG (např. snižování emisí) a umíte tyto cíle měřit?</a:t>
            </a:r>
          </a:p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589C15F-11E6-4432-881B-E27899DBFB5A}"/>
              </a:ext>
            </a:extLst>
          </p:cNvPr>
          <p:cNvGrpSpPr/>
          <p:nvPr/>
        </p:nvGrpSpPr>
        <p:grpSpPr>
          <a:xfrm>
            <a:off x="10487025" y="92424"/>
            <a:ext cx="1562100" cy="821975"/>
            <a:chOff x="7992336" y="-1018"/>
            <a:chExt cx="1044160" cy="549170"/>
          </a:xfrm>
        </p:grpSpPr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CFED43B-5A1F-4AB7-B0A5-5B2E83C1E39D}"/>
                </a:ext>
              </a:extLst>
            </p:cNvPr>
            <p:cNvSpPr/>
            <p:nvPr/>
          </p:nvSpPr>
          <p:spPr>
            <a:xfrm>
              <a:off x="7992336" y="-1018"/>
              <a:ext cx="1044160" cy="549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  <p:pic>
          <p:nvPicPr>
            <p:cNvPr id="14" name="Picture 2" descr="http://www.aspectio.cz/Files/logoAMSP.jpg">
              <a:extLst>
                <a:ext uri="{FF2B5EF4-FFF2-40B4-BE49-F238E27FC236}">
                  <a16:creationId xmlns:a16="http://schemas.microsoft.com/office/drawing/2014/main" id="{7E736A1A-8CF7-4234-B617-AC791CB883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96770" y="38706"/>
              <a:ext cx="440856" cy="469722"/>
            </a:xfrm>
            <a:prstGeom prst="rect">
              <a:avLst/>
            </a:prstGeom>
            <a:noFill/>
          </p:spPr>
        </p:pic>
      </p:grpSp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pro AMSP | Udržitelnost a ESG | 02/2023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A8AB72C4-D54C-3584-234A-A03D287DC165}"/>
              </a:ext>
            </a:extLst>
          </p:cNvPr>
          <p:cNvGraphicFramePr>
            <a:graphicFrameLocks noGrp="1"/>
          </p:cNvGraphicFramePr>
          <p:nvPr/>
        </p:nvGraphicFramePr>
        <p:xfrm>
          <a:off x="443350" y="4871291"/>
          <a:ext cx="5666892" cy="512445"/>
        </p:xfrm>
        <a:graphic>
          <a:graphicData uri="http://schemas.openxmlformats.org/drawingml/2006/table">
            <a:tbl>
              <a:tblPr firstRow="1" bandRow="1"/>
              <a:tblGrid>
                <a:gridCol w="944482">
                  <a:extLst>
                    <a:ext uri="{9D8B030D-6E8A-4147-A177-3AD203B41FA5}">
                      <a16:colId xmlns:a16="http://schemas.microsoft.com/office/drawing/2014/main" val="1864174135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37219381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7701757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1244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lkem</a:t>
                      </a:r>
                      <a:endParaRPr lang="en-US" sz="14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až 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 až 249 zaměstnanců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5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105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8089405"/>
                  </a:ext>
                </a:extLst>
              </a:tr>
            </a:tbl>
          </a:graphicData>
        </a:graphic>
      </p:graphicFrame>
      <p:graphicFrame>
        <p:nvGraphicFramePr>
          <p:cNvPr id="10" name="Zástupný symbol pro obsah 6">
            <a:extLst>
              <a:ext uri="{FF2B5EF4-FFF2-40B4-BE49-F238E27FC236}">
                <a16:creationId xmlns:a16="http://schemas.microsoft.com/office/drawing/2014/main" id="{5762CC17-CDDF-4F3B-5DC8-8FD91BC4C2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0986110"/>
              </p:ext>
            </p:extLst>
          </p:nvPr>
        </p:nvGraphicFramePr>
        <p:xfrm>
          <a:off x="388485" y="1559121"/>
          <a:ext cx="5790124" cy="3534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A35B987-AFD1-6638-E807-2E27B703D0B7}"/>
              </a:ext>
            </a:extLst>
          </p:cNvPr>
          <p:cNvCxnSpPr/>
          <p:nvPr/>
        </p:nvCxnSpPr>
        <p:spPr>
          <a:xfrm>
            <a:off x="138737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2B47E892-D8D0-9ECF-DFE8-A83A92AECF99}"/>
              </a:ext>
            </a:extLst>
          </p:cNvPr>
          <p:cNvSpPr/>
          <p:nvPr/>
        </p:nvSpPr>
        <p:spPr>
          <a:xfrm>
            <a:off x="4474508" y="5431329"/>
            <a:ext cx="52129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or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Tabulka 17">
            <a:extLst>
              <a:ext uri="{FF2B5EF4-FFF2-40B4-BE49-F238E27FC236}">
                <a16:creationId xmlns:a16="http://schemas.microsoft.com/office/drawing/2014/main" id="{DD1FDE1E-F9CC-32D4-7AA7-9094CEF9B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141081"/>
              </p:ext>
            </p:extLst>
          </p:nvPr>
        </p:nvGraphicFramePr>
        <p:xfrm>
          <a:off x="6399629" y="1992026"/>
          <a:ext cx="2914127" cy="19945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14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1" i="1" noProof="0" dirty="0">
                          <a:solidFill>
                            <a:srgbClr val="002060"/>
                          </a:solidFill>
                        </a:rPr>
                        <a:t>+       An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6108135"/>
                  </a:ext>
                </a:extLst>
              </a:tr>
              <a:tr h="4724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máme cíle a umíme je měři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Ano, máme cíle, ale měří se nám těžko / neumíme je přesně měři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8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noProof="0" dirty="0">
                          <a:solidFill>
                            <a:srgbClr val="404040"/>
                          </a:solidFill>
                          <a:sym typeface="Wingdings" panose="05000000000000000000" pitchFamily="2" charset="2"/>
                        </a:rPr>
                        <a:t>N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9" name="Přímá spojnice 13">
            <a:extLst>
              <a:ext uri="{FF2B5EF4-FFF2-40B4-BE49-F238E27FC236}">
                <a16:creationId xmlns:a16="http://schemas.microsoft.com/office/drawing/2014/main" id="{479EDA6B-B9B9-F116-910F-E4B7E17677E0}"/>
              </a:ext>
            </a:extLst>
          </p:cNvPr>
          <p:cNvCxnSpPr/>
          <p:nvPr/>
        </p:nvCxnSpPr>
        <p:spPr>
          <a:xfrm>
            <a:off x="3291703" y="2045534"/>
            <a:ext cx="0" cy="3492000"/>
          </a:xfrm>
          <a:prstGeom prst="line">
            <a:avLst/>
          </a:prstGeom>
          <a:ln>
            <a:solidFill>
              <a:srgbClr val="404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bdélník 24">
            <a:extLst>
              <a:ext uri="{FF2B5EF4-FFF2-40B4-BE49-F238E27FC236}">
                <a16:creationId xmlns:a16="http://schemas.microsoft.com/office/drawing/2014/main" id="{AD5B520D-C75C-6E6E-579B-1D7556313338}"/>
              </a:ext>
            </a:extLst>
          </p:cNvPr>
          <p:cNvSpPr/>
          <p:nvPr/>
        </p:nvSpPr>
        <p:spPr>
          <a:xfrm>
            <a:off x="1588371" y="5426710"/>
            <a:ext cx="150233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čet zaměstnanců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id="{824DFAF5-44FB-735B-C1A4-143F653DE467}"/>
              </a:ext>
            </a:extLst>
          </p:cNvPr>
          <p:cNvSpPr/>
          <p:nvPr/>
        </p:nvSpPr>
        <p:spPr>
          <a:xfrm>
            <a:off x="6291631" y="2654335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4">
            <a:extLst>
              <a:ext uri="{FF2B5EF4-FFF2-40B4-BE49-F238E27FC236}">
                <a16:creationId xmlns:a16="http://schemas.microsoft.com/office/drawing/2014/main" id="{F9193E44-0198-F1EA-9130-DF5E392C269B}"/>
              </a:ext>
            </a:extLst>
          </p:cNvPr>
          <p:cNvSpPr/>
          <p:nvPr/>
        </p:nvSpPr>
        <p:spPr>
          <a:xfrm>
            <a:off x="6291631" y="3155652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AA6A8318-5D5E-490E-A1DA-8103648DB286}"/>
              </a:ext>
            </a:extLst>
          </p:cNvPr>
          <p:cNvSpPr/>
          <p:nvPr/>
        </p:nvSpPr>
        <p:spPr>
          <a:xfrm>
            <a:off x="6291631" y="3678225"/>
            <a:ext cx="108000" cy="108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ulka 1">
            <a:extLst>
              <a:ext uri="{FF2B5EF4-FFF2-40B4-BE49-F238E27FC236}">
                <a16:creationId xmlns:a16="http://schemas.microsoft.com/office/drawing/2014/main" id="{D5D05170-6DA9-C324-7327-DA42DA095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568007"/>
              </p:ext>
            </p:extLst>
          </p:nvPr>
        </p:nvGraphicFramePr>
        <p:xfrm>
          <a:off x="453984" y="2023402"/>
          <a:ext cx="5666892" cy="192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44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82517516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165923581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942036000"/>
                    </a:ext>
                  </a:extLst>
                </a:gridCol>
                <a:gridCol w="944482">
                  <a:extLst>
                    <a:ext uri="{9D8B030D-6E8A-4147-A177-3AD203B41FA5}">
                      <a16:colId xmlns:a16="http://schemas.microsoft.com/office/drawing/2014/main" val="3342435297"/>
                    </a:ext>
                  </a:extLst>
                </a:gridCol>
              </a:tblGrid>
              <a:tr h="19240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24">
            <a:extLst>
              <a:ext uri="{FF2B5EF4-FFF2-40B4-BE49-F238E27FC236}">
                <a16:creationId xmlns:a16="http://schemas.microsoft.com/office/drawing/2014/main" id="{17AFF621-DD50-1F82-4BAA-06B61F024A36}"/>
              </a:ext>
            </a:extLst>
          </p:cNvPr>
          <p:cNvSpPr/>
          <p:nvPr/>
        </p:nvSpPr>
        <p:spPr>
          <a:xfrm>
            <a:off x="6291631" y="2175468"/>
            <a:ext cx="108000" cy="108000"/>
          </a:xfrm>
          <a:prstGeom prst="rect">
            <a:avLst/>
          </a:prstGeom>
          <a:solidFill>
            <a:srgbClr val="281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18465430-EB01-E063-405A-7CDF3D87D4BC}"/>
              </a:ext>
            </a:extLst>
          </p:cNvPr>
          <p:cNvSpPr/>
          <p:nvPr/>
        </p:nvSpPr>
        <p:spPr>
          <a:xfrm>
            <a:off x="6676499" y="2175468"/>
            <a:ext cx="108000" cy="108000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E1BEA7D9-4C6B-7387-BDFA-0D212BFE6B97}"/>
              </a:ext>
            </a:extLst>
          </p:cNvPr>
          <p:cNvSpPr/>
          <p:nvPr/>
        </p:nvSpPr>
        <p:spPr>
          <a:xfrm>
            <a:off x="9264091" y="6164704"/>
            <a:ext cx="1917854" cy="25355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isticky signifikantní </a:t>
            </a: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111E9290-8D67-369B-C4C1-0F7E0B8C524B}"/>
              </a:ext>
            </a:extLst>
          </p:cNvPr>
          <p:cNvSpPr/>
          <p:nvPr/>
        </p:nvSpPr>
        <p:spPr>
          <a:xfrm>
            <a:off x="1732721" y="3659350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52002C44-AF43-87C7-3551-7E5A9E44EB86}"/>
              </a:ext>
            </a:extLst>
          </p:cNvPr>
          <p:cNvSpPr/>
          <p:nvPr/>
        </p:nvSpPr>
        <p:spPr>
          <a:xfrm>
            <a:off x="2684354" y="1980649"/>
            <a:ext cx="288000" cy="28800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FF047662-DBC1-BA86-A80D-5AF205794B1C}"/>
              </a:ext>
            </a:extLst>
          </p:cNvPr>
          <p:cNvSpPr/>
          <p:nvPr/>
        </p:nvSpPr>
        <p:spPr>
          <a:xfrm>
            <a:off x="740405" y="3761190"/>
            <a:ext cx="360000" cy="360000"/>
          </a:xfrm>
          <a:prstGeom prst="ellipse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583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9081608" cy="849015"/>
          </a:xfrm>
        </p:spPr>
        <p:txBody>
          <a:bodyPr/>
          <a:lstStyle/>
          <a:p>
            <a:r>
              <a:rPr lang="cs-CZ" dirty="0"/>
              <a:t>Vývoj V ČASE </a:t>
            </a:r>
            <a:endParaRPr lang="en-US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C087FAB-17E2-9D13-D65B-8AE38E685307}"/>
              </a:ext>
            </a:extLst>
          </p:cNvPr>
          <p:cNvSpPr txBox="1"/>
          <p:nvPr/>
        </p:nvSpPr>
        <p:spPr>
          <a:xfrm>
            <a:off x="459206" y="1742802"/>
            <a:ext cx="10272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3600" dirty="0">
                <a:solidFill>
                  <a:schemeClr val="bg1"/>
                </a:solidFill>
              </a:rPr>
              <a:t>PRŮZKUM REALIZOVANÝ 11/2023</a:t>
            </a:r>
          </a:p>
        </p:txBody>
      </p:sp>
    </p:spTree>
    <p:extLst>
      <p:ext uri="{BB962C8B-B14F-4D97-AF65-F5344CB8AC3E}">
        <p14:creationId xmlns:p14="http://schemas.microsoft.com/office/powerpoint/2010/main" val="26257961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Esg A UDRŽITELNOST: HLAVNÍ ZÁVĚRY Z </a:t>
            </a:r>
            <a:r>
              <a:rPr lang="cs-CZ" sz="2800" dirty="0">
                <a:solidFill>
                  <a:schemeClr val="bg1"/>
                </a:solidFill>
              </a:rPr>
              <a:t>11/2023</a:t>
            </a:r>
            <a:endParaRPr lang="cs-CZ" dirty="0"/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2" y="1444843"/>
            <a:ext cx="9646774" cy="4371271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cs-CZ" sz="1900" b="1" dirty="0">
                <a:solidFill>
                  <a:srgbClr val="ED6737"/>
                </a:solidFill>
              </a:rPr>
              <a:t>1/5 firem </a:t>
            </a:r>
            <a:r>
              <a:rPr lang="cs-CZ" sz="1900" b="1" dirty="0"/>
              <a:t>(mezi podniky s 50-249 zaměstnanci dokonce víc než třetina) </a:t>
            </a:r>
            <a:r>
              <a:rPr lang="cs-CZ" sz="1900" b="1" dirty="0">
                <a:solidFill>
                  <a:srgbClr val="ED6737"/>
                </a:solidFill>
              </a:rPr>
              <a:t>se už setkává s požadavky </a:t>
            </a:r>
            <a:r>
              <a:rPr lang="cs-CZ" sz="1900" b="1" dirty="0"/>
              <a:t>odběratelů </a:t>
            </a:r>
            <a:r>
              <a:rPr lang="cs-CZ" sz="1900" b="1" dirty="0">
                <a:solidFill>
                  <a:srgbClr val="ED6737"/>
                </a:solidFill>
              </a:rPr>
              <a:t>na informace či závazky v oblasti udržitelnosti</a:t>
            </a:r>
            <a:r>
              <a:rPr lang="cs-CZ" sz="1900" b="1" dirty="0"/>
              <a:t>, typicky formou ESG dotazníku či reportování uhlíkové stopy. </a:t>
            </a:r>
          </a:p>
          <a:p>
            <a:pPr marL="0" indent="0" fontAlgn="ctr">
              <a:buNone/>
            </a:pPr>
            <a:r>
              <a:rPr lang="cs-CZ" sz="1900" b="1" dirty="0"/>
              <a:t>Dalších </a:t>
            </a:r>
            <a:r>
              <a:rPr lang="cs-CZ" sz="1900" b="1" dirty="0">
                <a:solidFill>
                  <a:srgbClr val="ED6737"/>
                </a:solidFill>
              </a:rPr>
              <a:t>36 % firem očekává, že tyto požadavky přijdou</a:t>
            </a:r>
            <a:r>
              <a:rPr lang="cs-CZ" sz="1900" b="1" dirty="0"/>
              <a:t>.</a:t>
            </a:r>
          </a:p>
          <a:p>
            <a:pPr marL="0" indent="0" fontAlgn="ctr">
              <a:buNone/>
            </a:pPr>
            <a:endParaRPr lang="cs-CZ" sz="1900" b="1" dirty="0">
              <a:solidFill>
                <a:srgbClr val="ED6737"/>
              </a:solidFill>
            </a:endParaRPr>
          </a:p>
          <a:p>
            <a:pPr marL="0" indent="0" fontAlgn="ctr">
              <a:buNone/>
            </a:pPr>
            <a:r>
              <a:rPr lang="cs-CZ" sz="1900" b="1" dirty="0"/>
              <a:t>Téměř </a:t>
            </a:r>
            <a:r>
              <a:rPr lang="cs-CZ" sz="1900" b="1" dirty="0">
                <a:solidFill>
                  <a:srgbClr val="ED6737"/>
                </a:solidFill>
              </a:rPr>
              <a:t>1/3</a:t>
            </a:r>
            <a:r>
              <a:rPr lang="cs-CZ" sz="1900" b="1" dirty="0"/>
              <a:t> firem aktuálně </a:t>
            </a:r>
            <a:r>
              <a:rPr lang="cs-CZ" sz="1900" b="1" dirty="0">
                <a:solidFill>
                  <a:srgbClr val="ED6737"/>
                </a:solidFill>
              </a:rPr>
              <a:t>sbírá data </a:t>
            </a:r>
            <a:r>
              <a:rPr lang="cs-CZ" sz="1900" b="1" dirty="0"/>
              <a:t>pro ESG reporting, </a:t>
            </a:r>
            <a:r>
              <a:rPr lang="cs-CZ" sz="1900" b="1" dirty="0">
                <a:solidFill>
                  <a:srgbClr val="ED6737"/>
                </a:solidFill>
              </a:rPr>
              <a:t>1/4 má nastaveny procesy </a:t>
            </a:r>
            <a:r>
              <a:rPr lang="cs-CZ" sz="1900" b="1" dirty="0"/>
              <a:t>monitoringu cílů udržitelnosti a necelá </a:t>
            </a:r>
            <a:r>
              <a:rPr lang="cs-CZ" sz="1900" b="1" dirty="0">
                <a:solidFill>
                  <a:srgbClr val="ED6737"/>
                </a:solidFill>
              </a:rPr>
              <a:t>1/5 počítá </a:t>
            </a:r>
            <a:r>
              <a:rPr lang="cs-CZ" sz="1900" b="1" dirty="0"/>
              <a:t>svou </a:t>
            </a:r>
            <a:r>
              <a:rPr lang="cs-CZ" sz="1900" b="1" dirty="0">
                <a:solidFill>
                  <a:srgbClr val="ED6737"/>
                </a:solidFill>
              </a:rPr>
              <a:t>uhlíkovou stopu</a:t>
            </a:r>
            <a:r>
              <a:rPr lang="cs-CZ" sz="1900" b="1" dirty="0"/>
              <a:t>.  </a:t>
            </a:r>
          </a:p>
          <a:p>
            <a:pPr marL="0" indent="0" fontAlgn="ctr">
              <a:buNone/>
            </a:pPr>
            <a:endParaRPr lang="cs-CZ" sz="1900" b="1" dirty="0"/>
          </a:p>
          <a:p>
            <a:pPr marL="0" indent="0" fontAlgn="ctr">
              <a:buNone/>
            </a:pPr>
            <a:r>
              <a:rPr lang="cs-CZ" sz="1900" b="1" dirty="0">
                <a:solidFill>
                  <a:srgbClr val="ED6737"/>
                </a:solidFill>
              </a:rPr>
              <a:t>Podniky s 50 až 249 zaměstnanci </a:t>
            </a:r>
            <a:r>
              <a:rPr lang="cs-CZ" sz="1900" b="1" dirty="0"/>
              <a:t>jsou ve všech těchto aktivitách viditelně </a:t>
            </a:r>
            <a:r>
              <a:rPr lang="cs-CZ" sz="1900" b="1" dirty="0">
                <a:solidFill>
                  <a:srgbClr val="ED6737"/>
                </a:solidFill>
              </a:rPr>
              <a:t>napřed před těmi s 4 až 49 zaměstnanci</a:t>
            </a:r>
            <a:r>
              <a:rPr lang="cs-CZ" sz="1900" b="1" dirty="0"/>
              <a:t>. </a:t>
            </a:r>
          </a:p>
          <a:p>
            <a:pPr marL="0" indent="0" fontAlgn="ctr">
              <a:buNone/>
            </a:pPr>
            <a:endParaRPr lang="cs-CZ" sz="1900" b="1" dirty="0"/>
          </a:p>
          <a:p>
            <a:pPr marL="0" indent="0" fontAlgn="ctr">
              <a:buNone/>
            </a:pPr>
            <a:r>
              <a:rPr lang="cs-CZ" sz="1900" b="1" dirty="0">
                <a:solidFill>
                  <a:srgbClr val="ED6737"/>
                </a:solidFill>
              </a:rPr>
              <a:t>Interně téma ESG komunikují 2/3 firem</a:t>
            </a:r>
            <a:r>
              <a:rPr lang="cs-CZ" sz="1900" b="1" dirty="0"/>
              <a:t>, primárně formou školení, akcí </a:t>
            </a:r>
            <a:br>
              <a:rPr lang="cs-CZ" sz="1900" b="1" dirty="0"/>
            </a:br>
            <a:r>
              <a:rPr lang="cs-CZ" sz="1900" b="1" dirty="0"/>
              <a:t>a kurzů.  </a:t>
            </a:r>
          </a:p>
          <a:p>
            <a:pPr marL="0" indent="0" fontAlgn="ctr">
              <a:buNone/>
            </a:pPr>
            <a:endParaRPr lang="cs-CZ" sz="1900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32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Cirkulární ekonomika | 11/2023</a:t>
            </a:r>
          </a:p>
        </p:txBody>
      </p:sp>
      <p:pic>
        <p:nvPicPr>
          <p:cNvPr id="6" name="Grafický objekt 5" descr="Deska s klipem, odškrtnuté se souvislou výplní">
            <a:extLst>
              <a:ext uri="{FF2B5EF4-FFF2-40B4-BE49-F238E27FC236}">
                <a16:creationId xmlns:a16="http://schemas.microsoft.com/office/drawing/2014/main" id="{F11951EF-44AD-E733-B9EE-0CD36EF8F4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306" y="2834620"/>
            <a:ext cx="914400" cy="914400"/>
          </a:xfrm>
          <a:prstGeom prst="rect">
            <a:avLst/>
          </a:prstGeom>
        </p:spPr>
      </p:pic>
      <p:pic>
        <p:nvPicPr>
          <p:cNvPr id="10" name="Grafický objekt 9" descr="Třída se souvislou výplní">
            <a:extLst>
              <a:ext uri="{FF2B5EF4-FFF2-40B4-BE49-F238E27FC236}">
                <a16:creationId xmlns:a16="http://schemas.microsoft.com/office/drawing/2014/main" id="{9B331B57-ACB0-2081-6DFB-329F1AAFA8E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306" y="4841175"/>
            <a:ext cx="914400" cy="914400"/>
          </a:xfrm>
          <a:prstGeom prst="rect">
            <a:avLst/>
          </a:prstGeom>
        </p:spPr>
      </p:pic>
      <p:pic>
        <p:nvPicPr>
          <p:cNvPr id="14" name="Grafický objekt 13" descr="Průvodce nastavením práce na dálku se souvislou výplní">
            <a:extLst>
              <a:ext uri="{FF2B5EF4-FFF2-40B4-BE49-F238E27FC236}">
                <a16:creationId xmlns:a16="http://schemas.microsoft.com/office/drawing/2014/main" id="{5AC81CD5-3D22-5D09-7143-C900710521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0306" y="3863870"/>
            <a:ext cx="914400" cy="914400"/>
          </a:xfrm>
          <a:prstGeom prst="rect">
            <a:avLst/>
          </a:prstGeom>
        </p:spPr>
      </p:pic>
      <p:pic>
        <p:nvPicPr>
          <p:cNvPr id="17" name="Grafický objekt 16" descr="Informace se souvislou výplní">
            <a:extLst>
              <a:ext uri="{FF2B5EF4-FFF2-40B4-BE49-F238E27FC236}">
                <a16:creationId xmlns:a16="http://schemas.microsoft.com/office/drawing/2014/main" id="{80630912-B854-85C0-5771-FCAD8F8865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0306" y="155962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97861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9081608" cy="849015"/>
          </a:xfrm>
        </p:spPr>
        <p:txBody>
          <a:bodyPr/>
          <a:lstStyle/>
          <a:p>
            <a:r>
              <a:rPr lang="cs-CZ" dirty="0"/>
              <a:t>Vývoj </a:t>
            </a:r>
            <a:endParaRPr lang="en-US" dirty="0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C087FAB-17E2-9D13-D65B-8AE38E685307}"/>
              </a:ext>
            </a:extLst>
          </p:cNvPr>
          <p:cNvSpPr txBox="1"/>
          <p:nvPr/>
        </p:nvSpPr>
        <p:spPr>
          <a:xfrm>
            <a:off x="459206" y="1742802"/>
            <a:ext cx="102720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3600" dirty="0">
                <a:solidFill>
                  <a:schemeClr val="bg1"/>
                </a:solidFill>
              </a:rPr>
              <a:t>PRŮZKUM REALIZOVANÝ 3/2024</a:t>
            </a:r>
          </a:p>
        </p:txBody>
      </p:sp>
    </p:spTree>
    <p:extLst>
      <p:ext uri="{BB962C8B-B14F-4D97-AF65-F5344CB8AC3E}">
        <p14:creationId xmlns:p14="http://schemas.microsoft.com/office/powerpoint/2010/main" val="1382343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INOVACE PRO EFEKTIVITU: HLAVNÍ ZÁVĚRY Z 3/2024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1" y="2095582"/>
            <a:ext cx="10009128" cy="3372793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1/2  firem </a:t>
            </a:r>
            <a:r>
              <a:rPr lang="cs-CZ" sz="1700" b="1" dirty="0"/>
              <a:t>udává, že by své podnikání mohly </a:t>
            </a:r>
            <a:r>
              <a:rPr lang="cs-CZ" sz="1700" b="1" dirty="0">
                <a:solidFill>
                  <a:srgbClr val="E87722"/>
                </a:solidFill>
              </a:rPr>
              <a:t>směřovat k udržitelnosti </a:t>
            </a:r>
            <a:r>
              <a:rPr lang="cs-CZ" sz="1700" b="1" dirty="0"/>
              <a:t>skrze </a:t>
            </a:r>
            <a:r>
              <a:rPr lang="cs-CZ" sz="1700" b="1" dirty="0">
                <a:solidFill>
                  <a:srgbClr val="E87722"/>
                </a:solidFill>
              </a:rPr>
              <a:t>investice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do obnovitelných zdrojů energetiky </a:t>
            </a:r>
            <a:r>
              <a:rPr lang="cs-CZ" sz="1700" b="1" dirty="0"/>
              <a:t>(častěji ty z oboru výroby či průmyslu) a také </a:t>
            </a:r>
            <a:r>
              <a:rPr lang="cs-CZ" sz="1700" b="1" dirty="0">
                <a:solidFill>
                  <a:srgbClr val="E87722"/>
                </a:solidFill>
              </a:rPr>
              <a:t>podporou ekologického povědomí </a:t>
            </a:r>
            <a:r>
              <a:rPr lang="cs-CZ" sz="1700" b="1" dirty="0"/>
              <a:t>mezi zaměstnanci a zákazníky.</a:t>
            </a:r>
          </a:p>
          <a:p>
            <a:pPr marL="0" indent="0" fontAlgn="ctr">
              <a:buNone/>
            </a:pPr>
            <a:endParaRPr lang="cs-CZ" sz="1700" b="1" dirty="0"/>
          </a:p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2/3 třetiny firem </a:t>
            </a:r>
            <a:r>
              <a:rPr lang="cs-CZ" sz="1700" b="1" dirty="0"/>
              <a:t>už </a:t>
            </a:r>
            <a:r>
              <a:rPr lang="cs-CZ" sz="1700" b="1" dirty="0">
                <a:solidFill>
                  <a:srgbClr val="E87722"/>
                </a:solidFill>
              </a:rPr>
              <a:t>využívají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nebo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zvažují</a:t>
            </a:r>
            <a:r>
              <a:rPr lang="cs-CZ" sz="1700" b="1" dirty="0"/>
              <a:t> adopci </a:t>
            </a:r>
            <a:r>
              <a:rPr lang="cs-CZ" sz="1700" b="1" dirty="0">
                <a:solidFill>
                  <a:srgbClr val="E87722"/>
                </a:solidFill>
              </a:rPr>
              <a:t>obnovitelné energie </a:t>
            </a:r>
            <a:r>
              <a:rPr lang="cs-CZ" sz="1700" b="1" dirty="0"/>
              <a:t>pro své operace nebo služby, což je trend, který je </a:t>
            </a:r>
            <a:r>
              <a:rPr lang="cs-CZ" sz="1700" b="1" dirty="0">
                <a:solidFill>
                  <a:srgbClr val="E87722"/>
                </a:solidFill>
              </a:rPr>
              <a:t>výraznější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u firem s 50 až 249 zaměstnanci </a:t>
            </a:r>
            <a:r>
              <a:rPr lang="cs-CZ" sz="1700" b="1" dirty="0"/>
              <a:t>a také u těch, které svým působením spadají do oboru </a:t>
            </a:r>
            <a:r>
              <a:rPr lang="cs-CZ" sz="1700" b="1" dirty="0">
                <a:solidFill>
                  <a:srgbClr val="E87722"/>
                </a:solidFill>
              </a:rPr>
              <a:t>výroby či průmyslu</a:t>
            </a:r>
            <a:r>
              <a:rPr lang="cs-CZ" sz="1700" b="1" dirty="0"/>
              <a:t>.</a:t>
            </a:r>
          </a:p>
          <a:p>
            <a:pPr marL="0" indent="0" fontAlgn="ctr">
              <a:buNone/>
            </a:pPr>
            <a:endParaRPr lang="cs-CZ" sz="1700" b="1" dirty="0"/>
          </a:p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2/5 podniků</a:t>
            </a:r>
            <a:r>
              <a:rPr lang="cs-CZ" sz="1700" b="1" dirty="0"/>
              <a:t> s </a:t>
            </a:r>
            <a:r>
              <a:rPr lang="cs-CZ" sz="1700" b="1" dirty="0">
                <a:solidFill>
                  <a:srgbClr val="E87722"/>
                </a:solidFill>
              </a:rPr>
              <a:t>50 až 249 zaměstnanci</a:t>
            </a:r>
            <a:r>
              <a:rPr lang="cs-CZ" sz="1700" b="1" dirty="0"/>
              <a:t> a také ty z </a:t>
            </a:r>
            <a:r>
              <a:rPr lang="cs-CZ" sz="1700" b="1" dirty="0">
                <a:solidFill>
                  <a:srgbClr val="E87722"/>
                </a:solidFill>
              </a:rPr>
              <a:t>oboru výroby či průmyslu </a:t>
            </a:r>
            <a:r>
              <a:rPr lang="cs-CZ" sz="1700" b="1" dirty="0"/>
              <a:t>se domnívají, že </a:t>
            </a:r>
            <a:r>
              <a:rPr lang="cs-CZ" sz="1700" b="1" dirty="0">
                <a:solidFill>
                  <a:srgbClr val="E87722"/>
                </a:solidFill>
              </a:rPr>
              <a:t>elektromobilita</a:t>
            </a:r>
            <a:r>
              <a:rPr lang="cs-CZ" sz="1700" b="1" dirty="0"/>
              <a:t> může </a:t>
            </a:r>
            <a:r>
              <a:rPr lang="cs-CZ" sz="1700" b="1" dirty="0">
                <a:solidFill>
                  <a:srgbClr val="E87722"/>
                </a:solidFill>
              </a:rPr>
              <a:t>pomoci</a:t>
            </a:r>
            <a:r>
              <a:rPr lang="cs-CZ" sz="1700" b="1" dirty="0"/>
              <a:t> jejich </a:t>
            </a:r>
            <a:r>
              <a:rPr lang="cs-CZ" sz="1700" b="1" dirty="0">
                <a:solidFill>
                  <a:srgbClr val="E87722"/>
                </a:solidFill>
              </a:rPr>
              <a:t>udržitelnému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podnikání</a:t>
            </a:r>
            <a:r>
              <a:rPr lang="cs-CZ" sz="1700" b="1" dirty="0"/>
              <a:t> a </a:t>
            </a:r>
            <a:r>
              <a:rPr lang="cs-CZ" sz="1700" b="1" dirty="0">
                <a:solidFill>
                  <a:srgbClr val="E87722"/>
                </a:solidFill>
              </a:rPr>
              <a:t>již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tak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postupují</a:t>
            </a:r>
            <a:r>
              <a:rPr lang="cs-CZ" sz="1700" b="1" dirty="0"/>
              <a:t>.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34</a:t>
            </a:fld>
            <a:r>
              <a:rPr lang="en-GB" dirty="0"/>
              <a:t>  </a:t>
            </a:r>
          </a:p>
        </p:txBody>
      </p:sp>
      <p:sp>
        <p:nvSpPr>
          <p:cNvPr id="6" name="Zástupný symbol pro zápatí 3">
            <a:extLst>
              <a:ext uri="{FF2B5EF4-FFF2-40B4-BE49-F238E27FC236}">
                <a16:creationId xmlns:a16="http://schemas.microsoft.com/office/drawing/2014/main" id="{362A4788-EFC7-0883-A24F-BAE22ED480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Inovace pro efektivit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3/2024</a:t>
            </a:r>
          </a:p>
        </p:txBody>
      </p:sp>
      <p:pic>
        <p:nvPicPr>
          <p:cNvPr id="5" name="Grafický objekt 4" descr="Rostlina se souvislou výplní">
            <a:extLst>
              <a:ext uri="{FF2B5EF4-FFF2-40B4-BE49-F238E27FC236}">
                <a16:creationId xmlns:a16="http://schemas.microsoft.com/office/drawing/2014/main" id="{22C17FD3-B8A0-7A5B-F01B-F497B5D38E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671" y="2095582"/>
            <a:ext cx="720000" cy="720000"/>
          </a:xfrm>
          <a:prstGeom prst="rect">
            <a:avLst/>
          </a:prstGeom>
        </p:spPr>
      </p:pic>
      <p:pic>
        <p:nvPicPr>
          <p:cNvPr id="8" name="Grafický objekt 7" descr="Obnovitelný zdroj energie se souvislou výplní">
            <a:extLst>
              <a:ext uri="{FF2B5EF4-FFF2-40B4-BE49-F238E27FC236}">
                <a16:creationId xmlns:a16="http://schemas.microsoft.com/office/drawing/2014/main" id="{6A6AB716-10F5-BDC2-58B7-EF23B514B5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1671" y="3232661"/>
            <a:ext cx="720000" cy="720000"/>
          </a:xfrm>
          <a:prstGeom prst="rect">
            <a:avLst/>
          </a:prstGeom>
        </p:spPr>
      </p:pic>
      <p:pic>
        <p:nvPicPr>
          <p:cNvPr id="9" name="Grafický objekt 8" descr="Elektromobil se souvislou výplní">
            <a:extLst>
              <a:ext uri="{FF2B5EF4-FFF2-40B4-BE49-F238E27FC236}">
                <a16:creationId xmlns:a16="http://schemas.microsoft.com/office/drawing/2014/main" id="{D6A1EA22-F1B4-C0D4-559F-B9E6AB30E85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1671" y="42424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45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INOVACE PRO EFEKTIVITU: HLAVNÍ ZÁVĚRY Z 3/2024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1" y="2095582"/>
            <a:ext cx="10009128" cy="3372793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1/2  firem </a:t>
            </a:r>
            <a:r>
              <a:rPr lang="cs-CZ" sz="1700" b="1" dirty="0"/>
              <a:t>udává, že by své podnikání mohly </a:t>
            </a:r>
            <a:r>
              <a:rPr lang="cs-CZ" sz="1700" b="1" dirty="0">
                <a:solidFill>
                  <a:srgbClr val="E87722"/>
                </a:solidFill>
              </a:rPr>
              <a:t>směřovat k udržitelnosti </a:t>
            </a:r>
            <a:r>
              <a:rPr lang="cs-CZ" sz="1700" b="1" dirty="0"/>
              <a:t>skrze </a:t>
            </a:r>
            <a:r>
              <a:rPr lang="cs-CZ" sz="1700" b="1" dirty="0">
                <a:solidFill>
                  <a:srgbClr val="E87722"/>
                </a:solidFill>
              </a:rPr>
              <a:t>investice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do obnovitelných zdrojů energetiky </a:t>
            </a:r>
            <a:r>
              <a:rPr lang="cs-CZ" sz="1700" b="1" dirty="0"/>
              <a:t>(častěji ty z oboru výroby či průmyslu) a také </a:t>
            </a:r>
            <a:r>
              <a:rPr lang="cs-CZ" sz="1700" b="1" dirty="0">
                <a:solidFill>
                  <a:srgbClr val="E87722"/>
                </a:solidFill>
              </a:rPr>
              <a:t>podporou ekologického povědomí </a:t>
            </a:r>
            <a:r>
              <a:rPr lang="cs-CZ" sz="1700" b="1" dirty="0"/>
              <a:t>mezi zaměstnanci a zákazníky.</a:t>
            </a:r>
          </a:p>
          <a:p>
            <a:pPr marL="0" indent="0" fontAlgn="ctr">
              <a:buNone/>
            </a:pPr>
            <a:endParaRPr lang="cs-CZ" sz="1700" b="1" dirty="0"/>
          </a:p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2/3 třetiny firem </a:t>
            </a:r>
            <a:r>
              <a:rPr lang="cs-CZ" sz="1700" b="1" dirty="0"/>
              <a:t>už </a:t>
            </a:r>
            <a:r>
              <a:rPr lang="cs-CZ" sz="1700" b="1" dirty="0">
                <a:solidFill>
                  <a:srgbClr val="E87722"/>
                </a:solidFill>
              </a:rPr>
              <a:t>využívají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nebo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zvažují</a:t>
            </a:r>
            <a:r>
              <a:rPr lang="cs-CZ" sz="1700" b="1" dirty="0"/>
              <a:t> adopci </a:t>
            </a:r>
            <a:r>
              <a:rPr lang="cs-CZ" sz="1700" b="1" dirty="0">
                <a:solidFill>
                  <a:srgbClr val="E87722"/>
                </a:solidFill>
              </a:rPr>
              <a:t>obnovitelné energie </a:t>
            </a:r>
            <a:r>
              <a:rPr lang="cs-CZ" sz="1700" b="1" dirty="0"/>
              <a:t>pro své operace nebo služby, což je trend, který je </a:t>
            </a:r>
            <a:r>
              <a:rPr lang="cs-CZ" sz="1700" b="1" dirty="0">
                <a:solidFill>
                  <a:srgbClr val="E87722"/>
                </a:solidFill>
              </a:rPr>
              <a:t>výraznější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u firem s 50 až 249 zaměstnanci </a:t>
            </a:r>
            <a:r>
              <a:rPr lang="cs-CZ" sz="1700" b="1" dirty="0"/>
              <a:t>a také u těch, které svým působením spadají do oboru </a:t>
            </a:r>
            <a:r>
              <a:rPr lang="cs-CZ" sz="1700" b="1" dirty="0">
                <a:solidFill>
                  <a:srgbClr val="E87722"/>
                </a:solidFill>
              </a:rPr>
              <a:t>výroby či průmyslu</a:t>
            </a:r>
            <a:r>
              <a:rPr lang="cs-CZ" sz="1700" b="1" dirty="0"/>
              <a:t>.</a:t>
            </a:r>
          </a:p>
          <a:p>
            <a:pPr marL="0" indent="0" fontAlgn="ctr">
              <a:buNone/>
            </a:pPr>
            <a:endParaRPr lang="cs-CZ" sz="1700" b="1" dirty="0"/>
          </a:p>
          <a:p>
            <a:pPr marL="0" indent="0" fontAlgn="ctr">
              <a:buNone/>
            </a:pPr>
            <a:r>
              <a:rPr lang="cs-CZ" sz="1700" b="1" dirty="0">
                <a:solidFill>
                  <a:srgbClr val="E87722"/>
                </a:solidFill>
              </a:rPr>
              <a:t>2/5 podniků</a:t>
            </a:r>
            <a:r>
              <a:rPr lang="cs-CZ" sz="1700" b="1" dirty="0"/>
              <a:t> s </a:t>
            </a:r>
            <a:r>
              <a:rPr lang="cs-CZ" sz="1700" b="1" dirty="0">
                <a:solidFill>
                  <a:srgbClr val="E87722"/>
                </a:solidFill>
              </a:rPr>
              <a:t>50 až 249 zaměstnanci</a:t>
            </a:r>
            <a:r>
              <a:rPr lang="cs-CZ" sz="1700" b="1" dirty="0"/>
              <a:t> a také ty z </a:t>
            </a:r>
            <a:r>
              <a:rPr lang="cs-CZ" sz="1700" b="1" dirty="0">
                <a:solidFill>
                  <a:srgbClr val="E87722"/>
                </a:solidFill>
              </a:rPr>
              <a:t>oboru výroby či průmyslu </a:t>
            </a:r>
            <a:r>
              <a:rPr lang="cs-CZ" sz="1700" b="1" dirty="0"/>
              <a:t>se domnívají, že </a:t>
            </a:r>
            <a:r>
              <a:rPr lang="cs-CZ" sz="1700" b="1" dirty="0">
                <a:solidFill>
                  <a:srgbClr val="E87722"/>
                </a:solidFill>
              </a:rPr>
              <a:t>elektromobilita</a:t>
            </a:r>
            <a:r>
              <a:rPr lang="cs-CZ" sz="1700" b="1" dirty="0"/>
              <a:t> může </a:t>
            </a:r>
            <a:r>
              <a:rPr lang="cs-CZ" sz="1700" b="1" dirty="0">
                <a:solidFill>
                  <a:srgbClr val="E87722"/>
                </a:solidFill>
              </a:rPr>
              <a:t>pomoci</a:t>
            </a:r>
            <a:r>
              <a:rPr lang="cs-CZ" sz="1700" b="1" dirty="0"/>
              <a:t> jejich </a:t>
            </a:r>
            <a:r>
              <a:rPr lang="cs-CZ" sz="1700" b="1" dirty="0">
                <a:solidFill>
                  <a:srgbClr val="E87722"/>
                </a:solidFill>
              </a:rPr>
              <a:t>udržitelnému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podnikání</a:t>
            </a:r>
            <a:r>
              <a:rPr lang="cs-CZ" sz="1700" b="1" dirty="0"/>
              <a:t> a </a:t>
            </a:r>
            <a:r>
              <a:rPr lang="cs-CZ" sz="1700" b="1" dirty="0">
                <a:solidFill>
                  <a:srgbClr val="E87722"/>
                </a:solidFill>
              </a:rPr>
              <a:t>již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tak</a:t>
            </a:r>
            <a:r>
              <a:rPr lang="cs-CZ" sz="1700" b="1" dirty="0"/>
              <a:t> </a:t>
            </a:r>
            <a:r>
              <a:rPr lang="cs-CZ" sz="1700" b="1" dirty="0">
                <a:solidFill>
                  <a:srgbClr val="E87722"/>
                </a:solidFill>
              </a:rPr>
              <a:t>postupují</a:t>
            </a:r>
            <a:r>
              <a:rPr lang="cs-CZ" sz="1700" b="1" dirty="0"/>
              <a:t>.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35</a:t>
            </a:fld>
            <a:r>
              <a:rPr lang="en-GB" dirty="0"/>
              <a:t>  </a:t>
            </a:r>
          </a:p>
        </p:txBody>
      </p:sp>
      <p:sp>
        <p:nvSpPr>
          <p:cNvPr id="6" name="Zástupný symbol pro zápatí 3">
            <a:extLst>
              <a:ext uri="{FF2B5EF4-FFF2-40B4-BE49-F238E27FC236}">
                <a16:creationId xmlns:a16="http://schemas.microsoft.com/office/drawing/2014/main" id="{362A4788-EFC7-0883-A24F-BAE22ED480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Inovace pro efektivitu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3/2024</a:t>
            </a:r>
          </a:p>
        </p:txBody>
      </p:sp>
      <p:pic>
        <p:nvPicPr>
          <p:cNvPr id="5" name="Grafický objekt 4" descr="Rostlina se souvislou výplní">
            <a:extLst>
              <a:ext uri="{FF2B5EF4-FFF2-40B4-BE49-F238E27FC236}">
                <a16:creationId xmlns:a16="http://schemas.microsoft.com/office/drawing/2014/main" id="{22C17FD3-B8A0-7A5B-F01B-F497B5D38E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1671" y="2095582"/>
            <a:ext cx="720000" cy="720000"/>
          </a:xfrm>
          <a:prstGeom prst="rect">
            <a:avLst/>
          </a:prstGeom>
        </p:spPr>
      </p:pic>
      <p:pic>
        <p:nvPicPr>
          <p:cNvPr id="8" name="Grafický objekt 7" descr="Obnovitelný zdroj energie se souvislou výplní">
            <a:extLst>
              <a:ext uri="{FF2B5EF4-FFF2-40B4-BE49-F238E27FC236}">
                <a16:creationId xmlns:a16="http://schemas.microsoft.com/office/drawing/2014/main" id="{6A6AB716-10F5-BDC2-58B7-EF23B514B5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91671" y="3232661"/>
            <a:ext cx="720000" cy="720000"/>
          </a:xfrm>
          <a:prstGeom prst="rect">
            <a:avLst/>
          </a:prstGeom>
        </p:spPr>
      </p:pic>
      <p:pic>
        <p:nvPicPr>
          <p:cNvPr id="9" name="Grafický objekt 8" descr="Elektromobil se souvislou výplní">
            <a:extLst>
              <a:ext uri="{FF2B5EF4-FFF2-40B4-BE49-F238E27FC236}">
                <a16:creationId xmlns:a16="http://schemas.microsoft.com/office/drawing/2014/main" id="{D6A1EA22-F1B4-C0D4-559F-B9E6AB30E8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1671" y="42424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5787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9081608" cy="849015"/>
          </a:xfrm>
        </p:spPr>
        <p:txBody>
          <a:bodyPr/>
          <a:lstStyle/>
          <a:p>
            <a:r>
              <a:rPr lang="cs-CZ" dirty="0" err="1"/>
              <a:t>zÁVĚR</a:t>
            </a:r>
            <a:r>
              <a:rPr lang="cs-CZ" dirty="0"/>
              <a:t> </a:t>
            </a:r>
            <a:endParaRPr lang="en-US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0A6719A-1099-851C-2883-4B60F4CD9E63}"/>
              </a:ext>
            </a:extLst>
          </p:cNvPr>
          <p:cNvSpPr txBox="1"/>
          <p:nvPr/>
        </p:nvSpPr>
        <p:spPr>
          <a:xfrm>
            <a:off x="459207" y="2433320"/>
            <a:ext cx="6096000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Děkuji za pozornost,</a:t>
            </a:r>
          </a:p>
          <a:p>
            <a:endParaRPr lang="cs-CZ" sz="4000" dirty="0">
              <a:solidFill>
                <a:schemeClr val="bg1"/>
              </a:solidFill>
            </a:endParaRPr>
          </a:p>
          <a:p>
            <a:r>
              <a:rPr lang="cs-CZ" sz="4000" dirty="0">
                <a:solidFill>
                  <a:schemeClr val="bg1"/>
                </a:solidFill>
              </a:rPr>
              <a:t>Marie Marková </a:t>
            </a:r>
          </a:p>
          <a:p>
            <a:r>
              <a:rPr lang="cs-CZ" sz="4000" dirty="0">
                <a:solidFill>
                  <a:schemeClr val="bg1"/>
                </a:solidFill>
              </a:rPr>
              <a:t>markova@amsp.cz </a:t>
            </a:r>
          </a:p>
          <a:p>
            <a:r>
              <a:rPr lang="cs-CZ" sz="4000" dirty="0">
                <a:solidFill>
                  <a:schemeClr val="bg1"/>
                </a:solidFill>
              </a:rPr>
              <a:t>736 273 881</a:t>
            </a:r>
          </a:p>
        </p:txBody>
      </p:sp>
    </p:spTree>
    <p:extLst>
      <p:ext uri="{BB962C8B-B14F-4D97-AF65-F5344CB8AC3E}">
        <p14:creationId xmlns:p14="http://schemas.microsoft.com/office/powerpoint/2010/main" val="33361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31800"/>
            <a:ext cx="11382428" cy="480131"/>
          </a:xfrm>
        </p:spPr>
        <p:txBody>
          <a:bodyPr/>
          <a:lstStyle/>
          <a:p>
            <a:r>
              <a:rPr lang="cs-CZ" dirty="0"/>
              <a:t>metodika</a:t>
            </a: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4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graphicFrame>
        <p:nvGraphicFramePr>
          <p:cNvPr id="26" name="Tabulka 25">
            <a:extLst>
              <a:ext uri="{FF2B5EF4-FFF2-40B4-BE49-F238E27FC236}">
                <a16:creationId xmlns:a16="http://schemas.microsoft.com/office/drawing/2014/main" id="{7A8059C3-46EE-49A8-A22C-EF6388023A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10928"/>
              </p:ext>
            </p:extLst>
          </p:nvPr>
        </p:nvGraphicFramePr>
        <p:xfrm>
          <a:off x="1859530" y="1246029"/>
          <a:ext cx="10203147" cy="4321212"/>
        </p:xfrm>
        <a:graphic>
          <a:graphicData uri="http://schemas.openxmlformats.org/drawingml/2006/table">
            <a:tbl>
              <a:tblPr firstRow="1" bandRow="1"/>
              <a:tblGrid>
                <a:gridCol w="1957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5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Metoda</a:t>
                      </a:r>
                      <a:b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CCCCC"/>
                          </a:solidFill>
                          <a:latin typeface="+mj-lt"/>
                          <a:ea typeface="+mn-ea"/>
                          <a:cs typeface="+mn-cs"/>
                        </a:rPr>
                        <a:t>ankety</a:t>
                      </a:r>
                      <a:endParaRPr lang="en-GB" sz="1800" b="1" kern="1200" dirty="0">
                        <a:solidFill>
                          <a:srgbClr val="CCCCCC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nline</a:t>
                      </a:r>
                      <a:r>
                        <a:rPr lang="cs-CZ" sz="1800" kern="1200" baseline="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 dotazování</a:t>
                      </a:r>
                      <a:endParaRPr lang="cs-CZ" sz="1800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Cílová</a:t>
                      </a:r>
                      <a:b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C2A9EE"/>
                          </a:solidFill>
                          <a:latin typeface="+mj-lt"/>
                          <a:ea typeface="+mn-ea"/>
                          <a:cs typeface="+mn-cs"/>
                        </a:rPr>
                        <a:t>skupina</a:t>
                      </a:r>
                      <a:endParaRPr lang="en-GB" sz="1800" b="1" kern="1200" dirty="0">
                        <a:solidFill>
                          <a:srgbClr val="C2A9EE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Majitelé, jednatelé a ředitelé malých a středních podniků </a:t>
                      </a:r>
                      <a:b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o velikosti 4-249 zaměstnanců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elikost</a:t>
                      </a:r>
                      <a:b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cs-CZ" sz="1800" b="1" kern="1200" dirty="0">
                          <a:solidFill>
                            <a:srgbClr val="ED6737"/>
                          </a:solidFill>
                          <a:latin typeface="+mj-lt"/>
                          <a:ea typeface="+mn-ea"/>
                          <a:cs typeface="+mn-cs"/>
                        </a:rPr>
                        <a:t>vzorku</a:t>
                      </a:r>
                      <a:endParaRPr lang="en-GB" sz="1800" b="1" kern="1200" dirty="0">
                        <a:solidFill>
                          <a:srgbClr val="ED6737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150 - 255 podniků 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80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lvl="0" defTabSz="914157">
                        <a:defRPr/>
                      </a:pPr>
                      <a:r>
                        <a:rPr lang="cs-CZ" sz="1800" b="1" kern="1200" dirty="0">
                          <a:solidFill>
                            <a:srgbClr val="FBB040"/>
                          </a:solidFill>
                          <a:latin typeface="+mj-lt"/>
                          <a:ea typeface="+mn-ea"/>
                          <a:cs typeface="+mn-cs"/>
                        </a:rPr>
                        <a:t>Výzkumný nástroj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kern="1200" noProof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Strukturovaný dotazník o délce max 8 minut</a:t>
                      </a:r>
                      <a:endParaRPr lang="en-US" sz="1800" b="1" kern="1200" noProof="0" dirty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7" name="Group 15">
            <a:extLst>
              <a:ext uri="{FF2B5EF4-FFF2-40B4-BE49-F238E27FC236}">
                <a16:creationId xmlns:a16="http://schemas.microsoft.com/office/drawing/2014/main" id="{32250F5E-C42C-4D2A-BCEC-E29726EAAF87}"/>
              </a:ext>
            </a:extLst>
          </p:cNvPr>
          <p:cNvGrpSpPr>
            <a:grpSpLocks noChangeAspect="1"/>
          </p:cNvGrpSpPr>
          <p:nvPr/>
        </p:nvGrpSpPr>
        <p:grpSpPr>
          <a:xfrm>
            <a:off x="934098" y="1502191"/>
            <a:ext cx="687134" cy="574232"/>
            <a:chOff x="5308593" y="2025650"/>
            <a:chExt cx="812804" cy="704850"/>
          </a:xfrm>
          <a:solidFill>
            <a:schemeClr val="tx1">
              <a:lumMod val="20000"/>
              <a:lumOff val="80000"/>
            </a:schemeClr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D4A77865-0367-432A-95C9-2CE38226F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5297" y="2184400"/>
              <a:ext cx="546100" cy="546100"/>
            </a:xfrm>
            <a:custGeom>
              <a:avLst/>
              <a:gdLst/>
              <a:ahLst/>
              <a:cxnLst>
                <a:cxn ang="0">
                  <a:pos x="44" y="106"/>
                </a:cxn>
                <a:cxn ang="0">
                  <a:pos x="28" y="118"/>
                </a:cxn>
                <a:cxn ang="0">
                  <a:pos x="4" y="126"/>
                </a:cxn>
                <a:cxn ang="0">
                  <a:pos x="6" y="158"/>
                </a:cxn>
                <a:cxn ang="0">
                  <a:pos x="28" y="178"/>
                </a:cxn>
                <a:cxn ang="0">
                  <a:pos x="20" y="196"/>
                </a:cxn>
                <a:cxn ang="0">
                  <a:pos x="4" y="218"/>
                </a:cxn>
                <a:cxn ang="0">
                  <a:pos x="22" y="244"/>
                </a:cxn>
                <a:cxn ang="0">
                  <a:pos x="46" y="244"/>
                </a:cxn>
                <a:cxn ang="0">
                  <a:pos x="52" y="268"/>
                </a:cxn>
                <a:cxn ang="0">
                  <a:pos x="48" y="296"/>
                </a:cxn>
                <a:cxn ang="0">
                  <a:pos x="76" y="310"/>
                </a:cxn>
                <a:cxn ang="0">
                  <a:pos x="106" y="302"/>
                </a:cxn>
                <a:cxn ang="0">
                  <a:pos x="116" y="316"/>
                </a:cxn>
                <a:cxn ang="0">
                  <a:pos x="126" y="342"/>
                </a:cxn>
                <a:cxn ang="0">
                  <a:pos x="158" y="338"/>
                </a:cxn>
                <a:cxn ang="0">
                  <a:pos x="178" y="318"/>
                </a:cxn>
                <a:cxn ang="0">
                  <a:pos x="196" y="324"/>
                </a:cxn>
                <a:cxn ang="0">
                  <a:pos x="216" y="342"/>
                </a:cxn>
                <a:cxn ang="0">
                  <a:pos x="242" y="324"/>
                </a:cxn>
                <a:cxn ang="0">
                  <a:pos x="250" y="294"/>
                </a:cxn>
                <a:cxn ang="0">
                  <a:pos x="268" y="292"/>
                </a:cxn>
                <a:cxn ang="0">
                  <a:pos x="296" y="296"/>
                </a:cxn>
                <a:cxn ang="0">
                  <a:pos x="308" y="268"/>
                </a:cxn>
                <a:cxn ang="0">
                  <a:pos x="300" y="240"/>
                </a:cxn>
                <a:cxn ang="0">
                  <a:pos x="316" y="228"/>
                </a:cxn>
                <a:cxn ang="0">
                  <a:pos x="340" y="218"/>
                </a:cxn>
                <a:cxn ang="0">
                  <a:pos x="338" y="186"/>
                </a:cxn>
                <a:cxn ang="0">
                  <a:pos x="316" y="166"/>
                </a:cxn>
                <a:cxn ang="0">
                  <a:pos x="324" y="148"/>
                </a:cxn>
                <a:cxn ang="0">
                  <a:pos x="340" y="128"/>
                </a:cxn>
                <a:cxn ang="0">
                  <a:pos x="322" y="102"/>
                </a:cxn>
                <a:cxn ang="0">
                  <a:pos x="294" y="94"/>
                </a:cxn>
                <a:cxn ang="0">
                  <a:pos x="292" y="76"/>
                </a:cxn>
                <a:cxn ang="0">
                  <a:pos x="296" y="50"/>
                </a:cxn>
                <a:cxn ang="0">
                  <a:pos x="268" y="36"/>
                </a:cxn>
                <a:cxn ang="0">
                  <a:pos x="238" y="44"/>
                </a:cxn>
                <a:cxn ang="0">
                  <a:pos x="228" y="28"/>
                </a:cxn>
                <a:cxn ang="0">
                  <a:pos x="218" y="4"/>
                </a:cxn>
                <a:cxn ang="0">
                  <a:pos x="186" y="6"/>
                </a:cxn>
                <a:cxn ang="0">
                  <a:pos x="166" y="28"/>
                </a:cxn>
                <a:cxn ang="0">
                  <a:pos x="148" y="20"/>
                </a:cxn>
                <a:cxn ang="0">
                  <a:pos x="128" y="4"/>
                </a:cxn>
                <a:cxn ang="0">
                  <a:pos x="102" y="22"/>
                </a:cxn>
                <a:cxn ang="0">
                  <a:pos x="94" y="50"/>
                </a:cxn>
                <a:cxn ang="0">
                  <a:pos x="76" y="52"/>
                </a:cxn>
                <a:cxn ang="0">
                  <a:pos x="48" y="48"/>
                </a:cxn>
                <a:cxn ang="0">
                  <a:pos x="36" y="78"/>
                </a:cxn>
                <a:cxn ang="0">
                  <a:pos x="162" y="72"/>
                </a:cxn>
                <a:cxn ang="0">
                  <a:pos x="248" y="106"/>
                </a:cxn>
                <a:cxn ang="0">
                  <a:pos x="272" y="182"/>
                </a:cxn>
                <a:cxn ang="0">
                  <a:pos x="222" y="260"/>
                </a:cxn>
                <a:cxn ang="0">
                  <a:pos x="144" y="270"/>
                </a:cxn>
                <a:cxn ang="0">
                  <a:pos x="76" y="204"/>
                </a:cxn>
                <a:cxn ang="0">
                  <a:pos x="82" y="126"/>
                </a:cxn>
                <a:cxn ang="0">
                  <a:pos x="142" y="76"/>
                </a:cxn>
              </a:cxnLst>
              <a:rect l="0" t="0" r="r" b="b"/>
              <a:pathLst>
                <a:path w="344" h="344">
                  <a:moveTo>
                    <a:pt x="38" y="82"/>
                  </a:moveTo>
                  <a:lnTo>
                    <a:pt x="38" y="82"/>
                  </a:lnTo>
                  <a:lnTo>
                    <a:pt x="42" y="90"/>
                  </a:lnTo>
                  <a:lnTo>
                    <a:pt x="44" y="98"/>
                  </a:lnTo>
                  <a:lnTo>
                    <a:pt x="44" y="106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0" y="114"/>
                  </a:lnTo>
                  <a:lnTo>
                    <a:pt x="34" y="116"/>
                  </a:lnTo>
                  <a:lnTo>
                    <a:pt x="28" y="118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14" y="116"/>
                  </a:lnTo>
                  <a:lnTo>
                    <a:pt x="8" y="120"/>
                  </a:lnTo>
                  <a:lnTo>
                    <a:pt x="4" y="126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0" y="144"/>
                  </a:lnTo>
                  <a:lnTo>
                    <a:pt x="2" y="152"/>
                  </a:lnTo>
                  <a:lnTo>
                    <a:pt x="6" y="158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18" y="166"/>
                  </a:lnTo>
                  <a:lnTo>
                    <a:pt x="24" y="172"/>
                  </a:lnTo>
                  <a:lnTo>
                    <a:pt x="28" y="178"/>
                  </a:lnTo>
                  <a:lnTo>
                    <a:pt x="28" y="184"/>
                  </a:lnTo>
                  <a:lnTo>
                    <a:pt x="28" y="184"/>
                  </a:lnTo>
                  <a:lnTo>
                    <a:pt x="28" y="188"/>
                  </a:lnTo>
                  <a:lnTo>
                    <a:pt x="24" y="192"/>
                  </a:lnTo>
                  <a:lnTo>
                    <a:pt x="20" y="196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8" y="202"/>
                  </a:lnTo>
                  <a:lnTo>
                    <a:pt x="4" y="210"/>
                  </a:lnTo>
                  <a:lnTo>
                    <a:pt x="4" y="21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8" y="234"/>
                  </a:lnTo>
                  <a:lnTo>
                    <a:pt x="14" y="240"/>
                  </a:lnTo>
                  <a:lnTo>
                    <a:pt x="22" y="244"/>
                  </a:lnTo>
                  <a:lnTo>
                    <a:pt x="28" y="244"/>
                  </a:lnTo>
                  <a:lnTo>
                    <a:pt x="28" y="244"/>
                  </a:lnTo>
                  <a:lnTo>
                    <a:pt x="34" y="242"/>
                  </a:lnTo>
                  <a:lnTo>
                    <a:pt x="40" y="242"/>
                  </a:lnTo>
                  <a:lnTo>
                    <a:pt x="46" y="244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50" y="252"/>
                  </a:lnTo>
                  <a:lnTo>
                    <a:pt x="52" y="260"/>
                  </a:lnTo>
                  <a:lnTo>
                    <a:pt x="52" y="268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46" y="280"/>
                  </a:lnTo>
                  <a:lnTo>
                    <a:pt x="46" y="288"/>
                  </a:lnTo>
                  <a:lnTo>
                    <a:pt x="48" y="296"/>
                  </a:lnTo>
                  <a:lnTo>
                    <a:pt x="54" y="302"/>
                  </a:lnTo>
                  <a:lnTo>
                    <a:pt x="54" y="302"/>
                  </a:lnTo>
                  <a:lnTo>
                    <a:pt x="62" y="308"/>
                  </a:lnTo>
                  <a:lnTo>
                    <a:pt x="70" y="310"/>
                  </a:lnTo>
                  <a:lnTo>
                    <a:pt x="76" y="310"/>
                  </a:lnTo>
                  <a:lnTo>
                    <a:pt x="82" y="306"/>
                  </a:lnTo>
                  <a:lnTo>
                    <a:pt x="82" y="306"/>
                  </a:lnTo>
                  <a:lnTo>
                    <a:pt x="88" y="302"/>
                  </a:lnTo>
                  <a:lnTo>
                    <a:pt x="98" y="300"/>
                  </a:lnTo>
                  <a:lnTo>
                    <a:pt x="106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4" y="306"/>
                  </a:lnTo>
                  <a:lnTo>
                    <a:pt x="116" y="310"/>
                  </a:lnTo>
                  <a:lnTo>
                    <a:pt x="116" y="316"/>
                  </a:lnTo>
                  <a:lnTo>
                    <a:pt x="116" y="322"/>
                  </a:lnTo>
                  <a:lnTo>
                    <a:pt x="116" y="322"/>
                  </a:lnTo>
                  <a:lnTo>
                    <a:pt x="116" y="330"/>
                  </a:lnTo>
                  <a:lnTo>
                    <a:pt x="120" y="336"/>
                  </a:lnTo>
                  <a:lnTo>
                    <a:pt x="126" y="342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44" y="344"/>
                  </a:lnTo>
                  <a:lnTo>
                    <a:pt x="152" y="342"/>
                  </a:lnTo>
                  <a:lnTo>
                    <a:pt x="158" y="338"/>
                  </a:lnTo>
                  <a:lnTo>
                    <a:pt x="162" y="332"/>
                  </a:lnTo>
                  <a:lnTo>
                    <a:pt x="162" y="332"/>
                  </a:lnTo>
                  <a:lnTo>
                    <a:pt x="164" y="326"/>
                  </a:lnTo>
                  <a:lnTo>
                    <a:pt x="172" y="322"/>
                  </a:lnTo>
                  <a:lnTo>
                    <a:pt x="178" y="318"/>
                  </a:lnTo>
                  <a:lnTo>
                    <a:pt x="184" y="316"/>
                  </a:lnTo>
                  <a:lnTo>
                    <a:pt x="184" y="316"/>
                  </a:lnTo>
                  <a:lnTo>
                    <a:pt x="188" y="316"/>
                  </a:lnTo>
                  <a:lnTo>
                    <a:pt x="192" y="320"/>
                  </a:lnTo>
                  <a:lnTo>
                    <a:pt x="196" y="324"/>
                  </a:lnTo>
                  <a:lnTo>
                    <a:pt x="198" y="330"/>
                  </a:lnTo>
                  <a:lnTo>
                    <a:pt x="198" y="330"/>
                  </a:lnTo>
                  <a:lnTo>
                    <a:pt x="202" y="336"/>
                  </a:lnTo>
                  <a:lnTo>
                    <a:pt x="208" y="340"/>
                  </a:lnTo>
                  <a:lnTo>
                    <a:pt x="216" y="342"/>
                  </a:lnTo>
                  <a:lnTo>
                    <a:pt x="226" y="340"/>
                  </a:lnTo>
                  <a:lnTo>
                    <a:pt x="226" y="340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2" y="324"/>
                  </a:lnTo>
                  <a:lnTo>
                    <a:pt x="242" y="316"/>
                  </a:lnTo>
                  <a:lnTo>
                    <a:pt x="242" y="316"/>
                  </a:lnTo>
                  <a:lnTo>
                    <a:pt x="242" y="310"/>
                  </a:lnTo>
                  <a:lnTo>
                    <a:pt x="246" y="302"/>
                  </a:lnTo>
                  <a:lnTo>
                    <a:pt x="250" y="294"/>
                  </a:lnTo>
                  <a:lnTo>
                    <a:pt x="254" y="290"/>
                  </a:lnTo>
                  <a:lnTo>
                    <a:pt x="254" y="290"/>
                  </a:lnTo>
                  <a:lnTo>
                    <a:pt x="258" y="290"/>
                  </a:lnTo>
                  <a:lnTo>
                    <a:pt x="264" y="290"/>
                  </a:lnTo>
                  <a:lnTo>
                    <a:pt x="268" y="292"/>
                  </a:lnTo>
                  <a:lnTo>
                    <a:pt x="274" y="296"/>
                  </a:lnTo>
                  <a:lnTo>
                    <a:pt x="274" y="296"/>
                  </a:lnTo>
                  <a:lnTo>
                    <a:pt x="280" y="300"/>
                  </a:lnTo>
                  <a:lnTo>
                    <a:pt x="288" y="300"/>
                  </a:lnTo>
                  <a:lnTo>
                    <a:pt x="296" y="296"/>
                  </a:lnTo>
                  <a:lnTo>
                    <a:pt x="302" y="290"/>
                  </a:lnTo>
                  <a:lnTo>
                    <a:pt x="302" y="290"/>
                  </a:lnTo>
                  <a:lnTo>
                    <a:pt x="308" y="282"/>
                  </a:lnTo>
                  <a:lnTo>
                    <a:pt x="310" y="274"/>
                  </a:lnTo>
                  <a:lnTo>
                    <a:pt x="308" y="268"/>
                  </a:lnTo>
                  <a:lnTo>
                    <a:pt x="306" y="262"/>
                  </a:lnTo>
                  <a:lnTo>
                    <a:pt x="306" y="262"/>
                  </a:lnTo>
                  <a:lnTo>
                    <a:pt x="302" y="256"/>
                  </a:lnTo>
                  <a:lnTo>
                    <a:pt x="300" y="248"/>
                  </a:lnTo>
                  <a:lnTo>
                    <a:pt x="300" y="240"/>
                  </a:lnTo>
                  <a:lnTo>
                    <a:pt x="302" y="234"/>
                  </a:lnTo>
                  <a:lnTo>
                    <a:pt x="302" y="234"/>
                  </a:lnTo>
                  <a:lnTo>
                    <a:pt x="304" y="230"/>
                  </a:lnTo>
                  <a:lnTo>
                    <a:pt x="310" y="228"/>
                  </a:lnTo>
                  <a:lnTo>
                    <a:pt x="316" y="228"/>
                  </a:lnTo>
                  <a:lnTo>
                    <a:pt x="322" y="228"/>
                  </a:lnTo>
                  <a:lnTo>
                    <a:pt x="322" y="228"/>
                  </a:lnTo>
                  <a:lnTo>
                    <a:pt x="330" y="228"/>
                  </a:lnTo>
                  <a:lnTo>
                    <a:pt x="336" y="224"/>
                  </a:lnTo>
                  <a:lnTo>
                    <a:pt x="340" y="218"/>
                  </a:lnTo>
                  <a:lnTo>
                    <a:pt x="344" y="210"/>
                  </a:lnTo>
                  <a:lnTo>
                    <a:pt x="344" y="210"/>
                  </a:lnTo>
                  <a:lnTo>
                    <a:pt x="344" y="200"/>
                  </a:lnTo>
                  <a:lnTo>
                    <a:pt x="342" y="192"/>
                  </a:lnTo>
                  <a:lnTo>
                    <a:pt x="338" y="186"/>
                  </a:lnTo>
                  <a:lnTo>
                    <a:pt x="332" y="184"/>
                  </a:lnTo>
                  <a:lnTo>
                    <a:pt x="332" y="184"/>
                  </a:lnTo>
                  <a:lnTo>
                    <a:pt x="326" y="180"/>
                  </a:lnTo>
                  <a:lnTo>
                    <a:pt x="320" y="174"/>
                  </a:lnTo>
                  <a:lnTo>
                    <a:pt x="316" y="166"/>
                  </a:lnTo>
                  <a:lnTo>
                    <a:pt x="316" y="160"/>
                  </a:lnTo>
                  <a:lnTo>
                    <a:pt x="316" y="160"/>
                  </a:lnTo>
                  <a:lnTo>
                    <a:pt x="316" y="156"/>
                  </a:lnTo>
                  <a:lnTo>
                    <a:pt x="320" y="152"/>
                  </a:lnTo>
                  <a:lnTo>
                    <a:pt x="324" y="148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6" y="142"/>
                  </a:lnTo>
                  <a:lnTo>
                    <a:pt x="340" y="136"/>
                  </a:lnTo>
                  <a:lnTo>
                    <a:pt x="340" y="128"/>
                  </a:lnTo>
                  <a:lnTo>
                    <a:pt x="340" y="118"/>
                  </a:lnTo>
                  <a:lnTo>
                    <a:pt x="340" y="118"/>
                  </a:lnTo>
                  <a:lnTo>
                    <a:pt x="336" y="110"/>
                  </a:lnTo>
                  <a:lnTo>
                    <a:pt x="330" y="104"/>
                  </a:lnTo>
                  <a:lnTo>
                    <a:pt x="322" y="102"/>
                  </a:lnTo>
                  <a:lnTo>
                    <a:pt x="316" y="102"/>
                  </a:lnTo>
                  <a:lnTo>
                    <a:pt x="316" y="102"/>
                  </a:lnTo>
                  <a:lnTo>
                    <a:pt x="308" y="102"/>
                  </a:lnTo>
                  <a:lnTo>
                    <a:pt x="302" y="98"/>
                  </a:lnTo>
                  <a:lnTo>
                    <a:pt x="294" y="94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88" y="86"/>
                  </a:lnTo>
                  <a:lnTo>
                    <a:pt x="290" y="82"/>
                  </a:lnTo>
                  <a:lnTo>
                    <a:pt x="292" y="76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8" y="64"/>
                  </a:lnTo>
                  <a:lnTo>
                    <a:pt x="298" y="56"/>
                  </a:lnTo>
                  <a:lnTo>
                    <a:pt x="296" y="50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2" y="38"/>
                  </a:lnTo>
                  <a:lnTo>
                    <a:pt x="274" y="34"/>
                  </a:lnTo>
                  <a:lnTo>
                    <a:pt x="268" y="36"/>
                  </a:lnTo>
                  <a:lnTo>
                    <a:pt x="262" y="40"/>
                  </a:lnTo>
                  <a:lnTo>
                    <a:pt x="262" y="40"/>
                  </a:lnTo>
                  <a:lnTo>
                    <a:pt x="256" y="42"/>
                  </a:lnTo>
                  <a:lnTo>
                    <a:pt x="246" y="44"/>
                  </a:lnTo>
                  <a:lnTo>
                    <a:pt x="238" y="44"/>
                  </a:lnTo>
                  <a:lnTo>
                    <a:pt x="234" y="42"/>
                  </a:lnTo>
                  <a:lnTo>
                    <a:pt x="234" y="42"/>
                  </a:lnTo>
                  <a:lnTo>
                    <a:pt x="230" y="40"/>
                  </a:lnTo>
                  <a:lnTo>
                    <a:pt x="228" y="34"/>
                  </a:lnTo>
                  <a:lnTo>
                    <a:pt x="228" y="28"/>
                  </a:lnTo>
                  <a:lnTo>
                    <a:pt x="228" y="22"/>
                  </a:lnTo>
                  <a:lnTo>
                    <a:pt x="228" y="22"/>
                  </a:lnTo>
                  <a:lnTo>
                    <a:pt x="228" y="16"/>
                  </a:lnTo>
                  <a:lnTo>
                    <a:pt x="224" y="8"/>
                  </a:lnTo>
                  <a:lnTo>
                    <a:pt x="218" y="4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86" y="6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0" y="18"/>
                  </a:lnTo>
                  <a:lnTo>
                    <a:pt x="172" y="24"/>
                  </a:lnTo>
                  <a:lnTo>
                    <a:pt x="166" y="28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56" y="28"/>
                  </a:lnTo>
                  <a:lnTo>
                    <a:pt x="152" y="26"/>
                  </a:lnTo>
                  <a:lnTo>
                    <a:pt x="148" y="20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2" y="8"/>
                  </a:lnTo>
                  <a:lnTo>
                    <a:pt x="136" y="4"/>
                  </a:lnTo>
                  <a:lnTo>
                    <a:pt x="128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0" y="10"/>
                  </a:lnTo>
                  <a:lnTo>
                    <a:pt x="104" y="14"/>
                  </a:lnTo>
                  <a:lnTo>
                    <a:pt x="102" y="22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36"/>
                  </a:lnTo>
                  <a:lnTo>
                    <a:pt x="98" y="44"/>
                  </a:lnTo>
                  <a:lnTo>
                    <a:pt x="94" y="50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6" y="56"/>
                  </a:lnTo>
                  <a:lnTo>
                    <a:pt x="80" y="54"/>
                  </a:lnTo>
                  <a:lnTo>
                    <a:pt x="76" y="52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4" y="46"/>
                  </a:lnTo>
                  <a:lnTo>
                    <a:pt x="56" y="46"/>
                  </a:lnTo>
                  <a:lnTo>
                    <a:pt x="48" y="48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36" y="62"/>
                  </a:lnTo>
                  <a:lnTo>
                    <a:pt x="34" y="70"/>
                  </a:lnTo>
                  <a:lnTo>
                    <a:pt x="36" y="78"/>
                  </a:lnTo>
                  <a:lnTo>
                    <a:pt x="38" y="82"/>
                  </a:lnTo>
                  <a:lnTo>
                    <a:pt x="38" y="82"/>
                  </a:lnTo>
                  <a:close/>
                  <a:moveTo>
                    <a:pt x="142" y="76"/>
                  </a:moveTo>
                  <a:lnTo>
                    <a:pt x="142" y="76"/>
                  </a:lnTo>
                  <a:lnTo>
                    <a:pt x="162" y="72"/>
                  </a:lnTo>
                  <a:lnTo>
                    <a:pt x="180" y="72"/>
                  </a:lnTo>
                  <a:lnTo>
                    <a:pt x="200" y="76"/>
                  </a:lnTo>
                  <a:lnTo>
                    <a:pt x="218" y="82"/>
                  </a:lnTo>
                  <a:lnTo>
                    <a:pt x="234" y="94"/>
                  </a:lnTo>
                  <a:lnTo>
                    <a:pt x="248" y="106"/>
                  </a:lnTo>
                  <a:lnTo>
                    <a:pt x="260" y="122"/>
                  </a:lnTo>
                  <a:lnTo>
                    <a:pt x="268" y="142"/>
                  </a:lnTo>
                  <a:lnTo>
                    <a:pt x="268" y="142"/>
                  </a:lnTo>
                  <a:lnTo>
                    <a:pt x="272" y="162"/>
                  </a:lnTo>
                  <a:lnTo>
                    <a:pt x="272" y="182"/>
                  </a:lnTo>
                  <a:lnTo>
                    <a:pt x="268" y="200"/>
                  </a:lnTo>
                  <a:lnTo>
                    <a:pt x="262" y="218"/>
                  </a:lnTo>
                  <a:lnTo>
                    <a:pt x="252" y="234"/>
                  </a:lnTo>
                  <a:lnTo>
                    <a:pt x="238" y="248"/>
                  </a:lnTo>
                  <a:lnTo>
                    <a:pt x="222" y="260"/>
                  </a:lnTo>
                  <a:lnTo>
                    <a:pt x="202" y="268"/>
                  </a:lnTo>
                  <a:lnTo>
                    <a:pt x="202" y="268"/>
                  </a:lnTo>
                  <a:lnTo>
                    <a:pt x="182" y="272"/>
                  </a:lnTo>
                  <a:lnTo>
                    <a:pt x="164" y="272"/>
                  </a:lnTo>
                  <a:lnTo>
                    <a:pt x="144" y="270"/>
                  </a:lnTo>
                  <a:lnTo>
                    <a:pt x="126" y="262"/>
                  </a:lnTo>
                  <a:lnTo>
                    <a:pt x="110" y="252"/>
                  </a:lnTo>
                  <a:lnTo>
                    <a:pt x="96" y="238"/>
                  </a:lnTo>
                  <a:lnTo>
                    <a:pt x="84" y="222"/>
                  </a:lnTo>
                  <a:lnTo>
                    <a:pt x="76" y="204"/>
                  </a:lnTo>
                  <a:lnTo>
                    <a:pt x="76" y="204"/>
                  </a:lnTo>
                  <a:lnTo>
                    <a:pt x="72" y="184"/>
                  </a:lnTo>
                  <a:lnTo>
                    <a:pt x="72" y="164"/>
                  </a:lnTo>
                  <a:lnTo>
                    <a:pt x="76" y="144"/>
                  </a:lnTo>
                  <a:lnTo>
                    <a:pt x="82" y="126"/>
                  </a:lnTo>
                  <a:lnTo>
                    <a:pt x="92" y="110"/>
                  </a:lnTo>
                  <a:lnTo>
                    <a:pt x="106" y="96"/>
                  </a:lnTo>
                  <a:lnTo>
                    <a:pt x="122" y="84"/>
                  </a:lnTo>
                  <a:lnTo>
                    <a:pt x="142" y="76"/>
                  </a:lnTo>
                  <a:lnTo>
                    <a:pt x="142" y="7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DF3D2F8D-9C32-42BC-9D15-587FE041E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08593" y="2025650"/>
              <a:ext cx="352425" cy="34925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14" y="74"/>
                </a:cxn>
                <a:cxn ang="0">
                  <a:pos x="0" y="86"/>
                </a:cxn>
                <a:cxn ang="0">
                  <a:pos x="8" y="102"/>
                </a:cxn>
                <a:cxn ang="0">
                  <a:pos x="18" y="120"/>
                </a:cxn>
                <a:cxn ang="0">
                  <a:pos x="4" y="134"/>
                </a:cxn>
                <a:cxn ang="0">
                  <a:pos x="10" y="154"/>
                </a:cxn>
                <a:cxn ang="0">
                  <a:pos x="30" y="156"/>
                </a:cxn>
                <a:cxn ang="0">
                  <a:pos x="32" y="176"/>
                </a:cxn>
                <a:cxn ang="0">
                  <a:pos x="36" y="194"/>
                </a:cxn>
                <a:cxn ang="0">
                  <a:pos x="54" y="196"/>
                </a:cxn>
                <a:cxn ang="0">
                  <a:pos x="72" y="194"/>
                </a:cxn>
                <a:cxn ang="0">
                  <a:pos x="76" y="212"/>
                </a:cxn>
                <a:cxn ang="0">
                  <a:pos x="94" y="220"/>
                </a:cxn>
                <a:cxn ang="0">
                  <a:pos x="106" y="208"/>
                </a:cxn>
                <a:cxn ang="0">
                  <a:pos x="124" y="204"/>
                </a:cxn>
                <a:cxn ang="0">
                  <a:pos x="140" y="218"/>
                </a:cxn>
                <a:cxn ang="0">
                  <a:pos x="156" y="208"/>
                </a:cxn>
                <a:cxn ang="0">
                  <a:pos x="164" y="186"/>
                </a:cxn>
                <a:cxn ang="0">
                  <a:pos x="176" y="190"/>
                </a:cxn>
                <a:cxn ang="0">
                  <a:pos x="194" y="186"/>
                </a:cxn>
                <a:cxn ang="0">
                  <a:pos x="196" y="168"/>
                </a:cxn>
                <a:cxn ang="0">
                  <a:pos x="196" y="148"/>
                </a:cxn>
                <a:cxn ang="0">
                  <a:pos x="216" y="144"/>
                </a:cxn>
                <a:cxn ang="0">
                  <a:pos x="220" y="122"/>
                </a:cxn>
                <a:cxn ang="0">
                  <a:pos x="206" y="110"/>
                </a:cxn>
                <a:cxn ang="0">
                  <a:pos x="212" y="92"/>
                </a:cxn>
                <a:cxn ang="0">
                  <a:pos x="218" y="76"/>
                </a:cxn>
                <a:cxn ang="0">
                  <a:pos x="204" y="64"/>
                </a:cxn>
                <a:cxn ang="0">
                  <a:pos x="188" y="58"/>
                </a:cxn>
                <a:cxn ang="0">
                  <a:pos x="192" y="40"/>
                </a:cxn>
                <a:cxn ang="0">
                  <a:pos x="182" y="22"/>
                </a:cxn>
                <a:cxn ang="0">
                  <a:pos x="164" y="26"/>
                </a:cxn>
                <a:cxn ang="0">
                  <a:pos x="148" y="22"/>
                </a:cxn>
                <a:cxn ang="0">
                  <a:pos x="140" y="2"/>
                </a:cxn>
                <a:cxn ang="0">
                  <a:pos x="120" y="4"/>
                </a:cxn>
                <a:cxn ang="0">
                  <a:pos x="104" y="18"/>
                </a:cxn>
                <a:cxn ang="0">
                  <a:pos x="94" y="8"/>
                </a:cxn>
                <a:cxn ang="0">
                  <a:pos x="76" y="2"/>
                </a:cxn>
                <a:cxn ang="0">
                  <a:pos x="66" y="18"/>
                </a:cxn>
                <a:cxn ang="0">
                  <a:pos x="56" y="34"/>
                </a:cxn>
                <a:cxn ang="0">
                  <a:pos x="36" y="28"/>
                </a:cxn>
                <a:cxn ang="0">
                  <a:pos x="22" y="44"/>
                </a:cxn>
                <a:cxn ang="0">
                  <a:pos x="92" y="48"/>
                </a:cxn>
                <a:cxn ang="0">
                  <a:pos x="152" y="58"/>
                </a:cxn>
                <a:cxn ang="0">
                  <a:pos x="176" y="102"/>
                </a:cxn>
                <a:cxn ang="0">
                  <a:pos x="154" y="160"/>
                </a:cxn>
                <a:cxn ang="0">
                  <a:pos x="106" y="174"/>
                </a:cxn>
                <a:cxn ang="0">
                  <a:pos x="54" y="142"/>
                </a:cxn>
                <a:cxn ang="0">
                  <a:pos x="48" y="92"/>
                </a:cxn>
                <a:cxn ang="0">
                  <a:pos x="92" y="48"/>
                </a:cxn>
              </a:cxnLst>
              <a:rect l="0" t="0" r="r" b="b"/>
              <a:pathLst>
                <a:path w="222" h="220">
                  <a:moveTo>
                    <a:pt x="26" y="52"/>
                  </a:moveTo>
                  <a:lnTo>
                    <a:pt x="26" y="52"/>
                  </a:lnTo>
                  <a:lnTo>
                    <a:pt x="28" y="56"/>
                  </a:lnTo>
                  <a:lnTo>
                    <a:pt x="28" y="62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6" y="72"/>
                  </a:lnTo>
                  <a:lnTo>
                    <a:pt x="2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2" y="8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2" y="98"/>
                  </a:lnTo>
                  <a:lnTo>
                    <a:pt x="4" y="100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12" y="106"/>
                  </a:lnTo>
                  <a:lnTo>
                    <a:pt x="16" y="110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6" y="122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6" y="130"/>
                  </a:lnTo>
                  <a:lnTo>
                    <a:pt x="4" y="134"/>
                  </a:lnTo>
                  <a:lnTo>
                    <a:pt x="2" y="138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6" y="150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6" y="154"/>
                  </a:lnTo>
                  <a:lnTo>
                    <a:pt x="30" y="156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4" y="166"/>
                  </a:lnTo>
                  <a:lnTo>
                    <a:pt x="34" y="172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0" y="180"/>
                  </a:lnTo>
                  <a:lnTo>
                    <a:pt x="30" y="184"/>
                  </a:lnTo>
                  <a:lnTo>
                    <a:pt x="32" y="190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0" y="196"/>
                  </a:lnTo>
                  <a:lnTo>
                    <a:pt x="46" y="198"/>
                  </a:lnTo>
                  <a:lnTo>
                    <a:pt x="50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8" y="194"/>
                  </a:lnTo>
                  <a:lnTo>
                    <a:pt x="62" y="192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76" y="212"/>
                  </a:lnTo>
                  <a:lnTo>
                    <a:pt x="78" y="216"/>
                  </a:lnTo>
                  <a:lnTo>
                    <a:pt x="82" y="218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4" y="220"/>
                  </a:lnTo>
                  <a:lnTo>
                    <a:pt x="98" y="220"/>
                  </a:lnTo>
                  <a:lnTo>
                    <a:pt x="102" y="216"/>
                  </a:lnTo>
                  <a:lnTo>
                    <a:pt x="104" y="212"/>
                  </a:lnTo>
                  <a:lnTo>
                    <a:pt x="104" y="212"/>
                  </a:lnTo>
                  <a:lnTo>
                    <a:pt x="106" y="208"/>
                  </a:lnTo>
                  <a:lnTo>
                    <a:pt x="110" y="206"/>
                  </a:lnTo>
                  <a:lnTo>
                    <a:pt x="118" y="202"/>
                  </a:lnTo>
                  <a:lnTo>
                    <a:pt x="118" y="202"/>
                  </a:lnTo>
                  <a:lnTo>
                    <a:pt x="122" y="202"/>
                  </a:lnTo>
                  <a:lnTo>
                    <a:pt x="124" y="204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30" y="216"/>
                  </a:lnTo>
                  <a:lnTo>
                    <a:pt x="134" y="218"/>
                  </a:lnTo>
                  <a:lnTo>
                    <a:pt x="140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50" y="214"/>
                  </a:lnTo>
                  <a:lnTo>
                    <a:pt x="154" y="212"/>
                  </a:lnTo>
                  <a:lnTo>
                    <a:pt x="156" y="208"/>
                  </a:lnTo>
                  <a:lnTo>
                    <a:pt x="156" y="202"/>
                  </a:lnTo>
                  <a:lnTo>
                    <a:pt x="156" y="202"/>
                  </a:lnTo>
                  <a:lnTo>
                    <a:pt x="156" y="198"/>
                  </a:lnTo>
                  <a:lnTo>
                    <a:pt x="158" y="192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6" y="186"/>
                  </a:lnTo>
                  <a:lnTo>
                    <a:pt x="170" y="186"/>
                  </a:lnTo>
                  <a:lnTo>
                    <a:pt x="176" y="190"/>
                  </a:lnTo>
                  <a:lnTo>
                    <a:pt x="176" y="190"/>
                  </a:lnTo>
                  <a:lnTo>
                    <a:pt x="180" y="192"/>
                  </a:lnTo>
                  <a:lnTo>
                    <a:pt x="186" y="192"/>
                  </a:lnTo>
                  <a:lnTo>
                    <a:pt x="190" y="190"/>
                  </a:lnTo>
                  <a:lnTo>
                    <a:pt x="194" y="186"/>
                  </a:lnTo>
                  <a:lnTo>
                    <a:pt x="194" y="186"/>
                  </a:lnTo>
                  <a:lnTo>
                    <a:pt x="198" y="180"/>
                  </a:lnTo>
                  <a:lnTo>
                    <a:pt x="200" y="176"/>
                  </a:lnTo>
                  <a:lnTo>
                    <a:pt x="200" y="172"/>
                  </a:lnTo>
                  <a:lnTo>
                    <a:pt x="196" y="168"/>
                  </a:lnTo>
                  <a:lnTo>
                    <a:pt x="196" y="168"/>
                  </a:lnTo>
                  <a:lnTo>
                    <a:pt x="194" y="164"/>
                  </a:lnTo>
                  <a:lnTo>
                    <a:pt x="194" y="158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6" y="148"/>
                  </a:lnTo>
                  <a:lnTo>
                    <a:pt x="200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12" y="146"/>
                  </a:lnTo>
                  <a:lnTo>
                    <a:pt x="216" y="144"/>
                  </a:lnTo>
                  <a:lnTo>
                    <a:pt x="220" y="140"/>
                  </a:lnTo>
                  <a:lnTo>
                    <a:pt x="222" y="134"/>
                  </a:lnTo>
                  <a:lnTo>
                    <a:pt x="222" y="134"/>
                  </a:lnTo>
                  <a:lnTo>
                    <a:pt x="222" y="128"/>
                  </a:lnTo>
                  <a:lnTo>
                    <a:pt x="220" y="122"/>
                  </a:lnTo>
                  <a:lnTo>
                    <a:pt x="218" y="118"/>
                  </a:lnTo>
                  <a:lnTo>
                    <a:pt x="214" y="116"/>
                  </a:lnTo>
                  <a:lnTo>
                    <a:pt x="214" y="116"/>
                  </a:lnTo>
                  <a:lnTo>
                    <a:pt x="210" y="114"/>
                  </a:lnTo>
                  <a:lnTo>
                    <a:pt x="206" y="110"/>
                  </a:lnTo>
                  <a:lnTo>
                    <a:pt x="204" y="102"/>
                  </a:lnTo>
                  <a:lnTo>
                    <a:pt x="204" y="102"/>
                  </a:lnTo>
                  <a:lnTo>
                    <a:pt x="204" y="100"/>
                  </a:lnTo>
                  <a:lnTo>
                    <a:pt x="206" y="96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16" y="90"/>
                  </a:lnTo>
                  <a:lnTo>
                    <a:pt x="218" y="86"/>
                  </a:lnTo>
                  <a:lnTo>
                    <a:pt x="220" y="82"/>
                  </a:lnTo>
                  <a:lnTo>
                    <a:pt x="218" y="76"/>
                  </a:lnTo>
                  <a:lnTo>
                    <a:pt x="218" y="76"/>
                  </a:lnTo>
                  <a:lnTo>
                    <a:pt x="216" y="70"/>
                  </a:lnTo>
                  <a:lnTo>
                    <a:pt x="212" y="66"/>
                  </a:lnTo>
                  <a:lnTo>
                    <a:pt x="208" y="64"/>
                  </a:lnTo>
                  <a:lnTo>
                    <a:pt x="204" y="64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194" y="62"/>
                  </a:lnTo>
                  <a:lnTo>
                    <a:pt x="188" y="58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86" y="52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2" y="40"/>
                  </a:lnTo>
                  <a:lnTo>
                    <a:pt x="192" y="36"/>
                  </a:lnTo>
                  <a:lnTo>
                    <a:pt x="190" y="30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82" y="22"/>
                  </a:lnTo>
                  <a:lnTo>
                    <a:pt x="178" y="22"/>
                  </a:lnTo>
                  <a:lnTo>
                    <a:pt x="172" y="22"/>
                  </a:lnTo>
                  <a:lnTo>
                    <a:pt x="168" y="24"/>
                  </a:lnTo>
                  <a:lnTo>
                    <a:pt x="168" y="24"/>
                  </a:lnTo>
                  <a:lnTo>
                    <a:pt x="164" y="26"/>
                  </a:lnTo>
                  <a:lnTo>
                    <a:pt x="160" y="28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8" y="24"/>
                  </a:lnTo>
                  <a:lnTo>
                    <a:pt x="148" y="22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8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4" y="0"/>
                  </a:lnTo>
                  <a:lnTo>
                    <a:pt x="120" y="4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6" y="10"/>
                  </a:lnTo>
                  <a:lnTo>
                    <a:pt x="112" y="14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0" y="18"/>
                  </a:lnTo>
                  <a:lnTo>
                    <a:pt x="98" y="16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2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2" y="4"/>
                  </a:lnTo>
                  <a:lnTo>
                    <a:pt x="68" y="8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2"/>
                  </a:lnTo>
                  <a:lnTo>
                    <a:pt x="64" y="2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28"/>
                  </a:lnTo>
                  <a:lnTo>
                    <a:pt x="36" y="28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4" y="38"/>
                  </a:lnTo>
                  <a:lnTo>
                    <a:pt x="22" y="44"/>
                  </a:lnTo>
                  <a:lnTo>
                    <a:pt x="24" y="48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92" y="48"/>
                  </a:moveTo>
                  <a:lnTo>
                    <a:pt x="92" y="48"/>
                  </a:lnTo>
                  <a:lnTo>
                    <a:pt x="104" y="46"/>
                  </a:lnTo>
                  <a:lnTo>
                    <a:pt x="116" y="46"/>
                  </a:lnTo>
                  <a:lnTo>
                    <a:pt x="130" y="48"/>
                  </a:lnTo>
                  <a:lnTo>
                    <a:pt x="140" y="52"/>
                  </a:lnTo>
                  <a:lnTo>
                    <a:pt x="152" y="58"/>
                  </a:lnTo>
                  <a:lnTo>
                    <a:pt x="160" y="68"/>
                  </a:lnTo>
                  <a:lnTo>
                    <a:pt x="168" y="7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76" y="102"/>
                  </a:lnTo>
                  <a:lnTo>
                    <a:pt x="176" y="116"/>
                  </a:lnTo>
                  <a:lnTo>
                    <a:pt x="174" y="128"/>
                  </a:lnTo>
                  <a:lnTo>
                    <a:pt x="168" y="140"/>
                  </a:lnTo>
                  <a:lnTo>
                    <a:pt x="162" y="150"/>
                  </a:lnTo>
                  <a:lnTo>
                    <a:pt x="154" y="160"/>
                  </a:lnTo>
                  <a:lnTo>
                    <a:pt x="144" y="166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18" y="174"/>
                  </a:lnTo>
                  <a:lnTo>
                    <a:pt x="106" y="174"/>
                  </a:lnTo>
                  <a:lnTo>
                    <a:pt x="94" y="172"/>
                  </a:lnTo>
                  <a:lnTo>
                    <a:pt x="82" y="168"/>
                  </a:lnTo>
                  <a:lnTo>
                    <a:pt x="70" y="160"/>
                  </a:lnTo>
                  <a:lnTo>
                    <a:pt x="62" y="152"/>
                  </a:lnTo>
                  <a:lnTo>
                    <a:pt x="54" y="142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6" y="116"/>
                  </a:lnTo>
                  <a:lnTo>
                    <a:pt x="46" y="104"/>
                  </a:lnTo>
                  <a:lnTo>
                    <a:pt x="48" y="92"/>
                  </a:lnTo>
                  <a:lnTo>
                    <a:pt x="54" y="80"/>
                  </a:lnTo>
                  <a:lnTo>
                    <a:pt x="60" y="70"/>
                  </a:lnTo>
                  <a:lnTo>
                    <a:pt x="68" y="60"/>
                  </a:lnTo>
                  <a:lnTo>
                    <a:pt x="80" y="54"/>
                  </a:lnTo>
                  <a:lnTo>
                    <a:pt x="92" y="48"/>
                  </a:lnTo>
                  <a:lnTo>
                    <a:pt x="92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20C16AAB-7349-43B8-ACBD-164932FAB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1776" y="2378075"/>
              <a:ext cx="269874" cy="269875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0" y="58"/>
                </a:cxn>
                <a:cxn ang="0">
                  <a:pos x="2" y="62"/>
                </a:cxn>
                <a:cxn ang="0">
                  <a:pos x="0" y="76"/>
                </a:cxn>
                <a:cxn ang="0">
                  <a:pos x="8" y="82"/>
                </a:cxn>
                <a:cxn ang="0">
                  <a:pos x="12" y="96"/>
                </a:cxn>
                <a:cxn ang="0">
                  <a:pos x="2" y="104"/>
                </a:cxn>
                <a:cxn ang="0">
                  <a:pos x="4" y="116"/>
                </a:cxn>
                <a:cxn ang="0">
                  <a:pos x="14" y="120"/>
                </a:cxn>
                <a:cxn ang="0">
                  <a:pos x="24" y="128"/>
                </a:cxn>
                <a:cxn ang="0">
                  <a:pos x="22" y="138"/>
                </a:cxn>
                <a:cxn ang="0">
                  <a:pos x="26" y="150"/>
                </a:cxn>
                <a:cxn ang="0">
                  <a:pos x="40" y="152"/>
                </a:cxn>
                <a:cxn ang="0">
                  <a:pos x="54" y="150"/>
                </a:cxn>
                <a:cxn ang="0">
                  <a:pos x="56" y="160"/>
                </a:cxn>
                <a:cxn ang="0">
                  <a:pos x="66" y="170"/>
                </a:cxn>
                <a:cxn ang="0">
                  <a:pos x="78" y="168"/>
                </a:cxn>
                <a:cxn ang="0">
                  <a:pos x="84" y="158"/>
                </a:cxn>
                <a:cxn ang="0">
                  <a:pos x="98" y="164"/>
                </a:cxn>
                <a:cxn ang="0">
                  <a:pos x="106" y="168"/>
                </a:cxn>
                <a:cxn ang="0">
                  <a:pos x="118" y="164"/>
                </a:cxn>
                <a:cxn ang="0">
                  <a:pos x="120" y="154"/>
                </a:cxn>
                <a:cxn ang="0">
                  <a:pos x="130" y="144"/>
                </a:cxn>
                <a:cxn ang="0">
                  <a:pos x="142" y="148"/>
                </a:cxn>
                <a:cxn ang="0">
                  <a:pos x="152" y="140"/>
                </a:cxn>
                <a:cxn ang="0">
                  <a:pos x="150" y="130"/>
                </a:cxn>
                <a:cxn ang="0">
                  <a:pos x="148" y="116"/>
                </a:cxn>
                <a:cxn ang="0">
                  <a:pos x="162" y="112"/>
                </a:cxn>
                <a:cxn ang="0">
                  <a:pos x="170" y="104"/>
                </a:cxn>
                <a:cxn ang="0">
                  <a:pos x="164" y="90"/>
                </a:cxn>
                <a:cxn ang="0">
                  <a:pos x="156" y="80"/>
                </a:cxn>
                <a:cxn ang="0">
                  <a:pos x="162" y="72"/>
                </a:cxn>
                <a:cxn ang="0">
                  <a:pos x="168" y="58"/>
                </a:cxn>
                <a:cxn ang="0">
                  <a:pos x="160" y="50"/>
                </a:cxn>
                <a:cxn ang="0">
                  <a:pos x="148" y="48"/>
                </a:cxn>
                <a:cxn ang="0">
                  <a:pos x="146" y="34"/>
                </a:cxn>
                <a:cxn ang="0">
                  <a:pos x="146" y="24"/>
                </a:cxn>
                <a:cxn ang="0">
                  <a:pos x="136" y="18"/>
                </a:cxn>
                <a:cxn ang="0">
                  <a:pos x="126" y="22"/>
                </a:cxn>
                <a:cxn ang="0">
                  <a:pos x="112" y="18"/>
                </a:cxn>
                <a:cxn ang="0">
                  <a:pos x="110" y="4"/>
                </a:cxn>
                <a:cxn ang="0">
                  <a:pos x="98" y="0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70" y="4"/>
                </a:cxn>
                <a:cxn ang="0">
                  <a:pos x="58" y="2"/>
                </a:cxn>
                <a:cxn ang="0">
                  <a:pos x="50" y="14"/>
                </a:cxn>
                <a:cxn ang="0">
                  <a:pos x="44" y="26"/>
                </a:cxn>
                <a:cxn ang="0">
                  <a:pos x="34" y="24"/>
                </a:cxn>
                <a:cxn ang="0">
                  <a:pos x="20" y="28"/>
                </a:cxn>
                <a:cxn ang="0">
                  <a:pos x="16" y="38"/>
                </a:cxn>
                <a:cxn ang="0">
                  <a:pos x="70" y="38"/>
                </a:cxn>
                <a:cxn ang="0">
                  <a:pos x="108" y="40"/>
                </a:cxn>
                <a:cxn ang="0">
                  <a:pos x="132" y="70"/>
                </a:cxn>
                <a:cxn ang="0">
                  <a:pos x="132" y="100"/>
                </a:cxn>
                <a:cxn ang="0">
                  <a:pos x="108" y="128"/>
                </a:cxn>
                <a:cxn ang="0">
                  <a:pos x="80" y="136"/>
                </a:cxn>
                <a:cxn ang="0">
                  <a:pos x="46" y="118"/>
                </a:cxn>
                <a:cxn ang="0">
                  <a:pos x="34" y="90"/>
                </a:cxn>
                <a:cxn ang="0">
                  <a:pos x="46" y="54"/>
                </a:cxn>
                <a:cxn ang="0">
                  <a:pos x="70" y="38"/>
                </a:cxn>
              </a:cxnLst>
              <a:rect l="0" t="0" r="r" b="b"/>
              <a:pathLst>
                <a:path w="170" h="170">
                  <a:moveTo>
                    <a:pt x="18" y="42"/>
                  </a:moveTo>
                  <a:lnTo>
                    <a:pt x="18" y="42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6" y="58"/>
                  </a:lnTo>
                  <a:lnTo>
                    <a:pt x="4" y="60"/>
                  </a:lnTo>
                  <a:lnTo>
                    <a:pt x="2" y="6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2" y="78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8" y="82"/>
                  </a:lnTo>
                  <a:lnTo>
                    <a:pt x="10" y="86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6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4" y="100"/>
                  </a:lnTo>
                  <a:lnTo>
                    <a:pt x="2" y="104"/>
                  </a:lnTo>
                  <a:lnTo>
                    <a:pt x="0" y="108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10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20" y="120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4" y="128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8"/>
                  </a:lnTo>
                  <a:lnTo>
                    <a:pt x="22" y="142"/>
                  </a:lnTo>
                  <a:lnTo>
                    <a:pt x="24" y="146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30" y="152"/>
                  </a:lnTo>
                  <a:lnTo>
                    <a:pt x="34" y="154"/>
                  </a:lnTo>
                  <a:lnTo>
                    <a:pt x="38" y="154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4" y="150"/>
                  </a:lnTo>
                  <a:lnTo>
                    <a:pt x="48" y="148"/>
                  </a:lnTo>
                  <a:lnTo>
                    <a:pt x="54" y="150"/>
                  </a:lnTo>
                  <a:lnTo>
                    <a:pt x="54" y="150"/>
                  </a:lnTo>
                  <a:lnTo>
                    <a:pt x="56" y="154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4"/>
                  </a:lnTo>
                  <a:lnTo>
                    <a:pt x="58" y="166"/>
                  </a:lnTo>
                  <a:lnTo>
                    <a:pt x="62" y="168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70" y="170"/>
                  </a:lnTo>
                  <a:lnTo>
                    <a:pt x="74" y="170"/>
                  </a:lnTo>
                  <a:lnTo>
                    <a:pt x="78" y="168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4" y="158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4" y="158"/>
                  </a:lnTo>
                  <a:lnTo>
                    <a:pt x="98" y="164"/>
                  </a:lnTo>
                  <a:lnTo>
                    <a:pt x="98" y="164"/>
                  </a:lnTo>
                  <a:lnTo>
                    <a:pt x="100" y="166"/>
                  </a:lnTo>
                  <a:lnTo>
                    <a:pt x="102" y="168"/>
                  </a:lnTo>
                  <a:lnTo>
                    <a:pt x="106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6" y="166"/>
                  </a:lnTo>
                  <a:lnTo>
                    <a:pt x="118" y="164"/>
                  </a:lnTo>
                  <a:lnTo>
                    <a:pt x="120" y="160"/>
                  </a:lnTo>
                  <a:lnTo>
                    <a:pt x="120" y="156"/>
                  </a:lnTo>
                  <a:lnTo>
                    <a:pt x="120" y="156"/>
                  </a:lnTo>
                  <a:lnTo>
                    <a:pt x="120" y="154"/>
                  </a:lnTo>
                  <a:lnTo>
                    <a:pt x="120" y="150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30" y="144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8" y="148"/>
                  </a:lnTo>
                  <a:lnTo>
                    <a:pt x="142" y="148"/>
                  </a:lnTo>
                  <a:lnTo>
                    <a:pt x="146" y="146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52" y="140"/>
                  </a:lnTo>
                  <a:lnTo>
                    <a:pt x="152" y="136"/>
                  </a:lnTo>
                  <a:lnTo>
                    <a:pt x="152" y="132"/>
                  </a:lnTo>
                  <a:lnTo>
                    <a:pt x="150" y="130"/>
                  </a:lnTo>
                  <a:lnTo>
                    <a:pt x="150" y="130"/>
                  </a:lnTo>
                  <a:lnTo>
                    <a:pt x="148" y="126"/>
                  </a:lnTo>
                  <a:lnTo>
                    <a:pt x="148" y="122"/>
                  </a:lnTo>
                  <a:lnTo>
                    <a:pt x="148" y="116"/>
                  </a:lnTo>
                  <a:lnTo>
                    <a:pt x="148" y="116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2" y="112"/>
                  </a:lnTo>
                  <a:lnTo>
                    <a:pt x="166" y="112"/>
                  </a:lnTo>
                  <a:lnTo>
                    <a:pt x="168" y="108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0"/>
                  </a:lnTo>
                  <a:lnTo>
                    <a:pt x="168" y="96"/>
                  </a:lnTo>
                  <a:lnTo>
                    <a:pt x="166" y="92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0" y="90"/>
                  </a:lnTo>
                  <a:lnTo>
                    <a:pt x="158" y="8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8" y="76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6" y="70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6" y="54"/>
                  </a:lnTo>
                  <a:lnTo>
                    <a:pt x="162" y="52"/>
                  </a:lnTo>
                  <a:lnTo>
                    <a:pt x="160" y="50"/>
                  </a:lnTo>
                  <a:lnTo>
                    <a:pt x="156" y="50"/>
                  </a:lnTo>
                  <a:lnTo>
                    <a:pt x="156" y="50"/>
                  </a:lnTo>
                  <a:lnTo>
                    <a:pt x="152" y="50"/>
                  </a:lnTo>
                  <a:lnTo>
                    <a:pt x="148" y="48"/>
                  </a:lnTo>
                  <a:lnTo>
                    <a:pt x="142" y="44"/>
                  </a:lnTo>
                  <a:lnTo>
                    <a:pt x="142" y="44"/>
                  </a:lnTo>
                  <a:lnTo>
                    <a:pt x="142" y="40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2"/>
                  </a:lnTo>
                  <a:lnTo>
                    <a:pt x="148" y="28"/>
                  </a:lnTo>
                  <a:lnTo>
                    <a:pt x="146" y="24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2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2" y="18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10" y="4"/>
                  </a:lnTo>
                  <a:lnTo>
                    <a:pt x="106" y="2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4" y="2"/>
                  </a:lnTo>
                  <a:lnTo>
                    <a:pt x="92" y="4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8" y="10"/>
                  </a:lnTo>
                  <a:lnTo>
                    <a:pt x="84" y="12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4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0" y="4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8"/>
                  </a:lnTo>
                  <a:lnTo>
                    <a:pt x="48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30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8" y="42"/>
                  </a:lnTo>
                  <a:lnTo>
                    <a:pt x="18" y="42"/>
                  </a:lnTo>
                  <a:close/>
                  <a:moveTo>
                    <a:pt x="70" y="38"/>
                  </a:moveTo>
                  <a:lnTo>
                    <a:pt x="70" y="38"/>
                  </a:lnTo>
                  <a:lnTo>
                    <a:pt x="78" y="36"/>
                  </a:lnTo>
                  <a:lnTo>
                    <a:pt x="88" y="36"/>
                  </a:lnTo>
                  <a:lnTo>
                    <a:pt x="98" y="38"/>
                  </a:lnTo>
                  <a:lnTo>
                    <a:pt x="108" y="40"/>
                  </a:lnTo>
                  <a:lnTo>
                    <a:pt x="116" y="46"/>
                  </a:lnTo>
                  <a:lnTo>
                    <a:pt x="122" y="52"/>
                  </a:lnTo>
                  <a:lnTo>
                    <a:pt x="128" y="6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4" y="80"/>
                  </a:lnTo>
                  <a:lnTo>
                    <a:pt x="134" y="90"/>
                  </a:lnTo>
                  <a:lnTo>
                    <a:pt x="132" y="100"/>
                  </a:lnTo>
                  <a:lnTo>
                    <a:pt x="128" y="108"/>
                  </a:lnTo>
                  <a:lnTo>
                    <a:pt x="124" y="116"/>
                  </a:lnTo>
                  <a:lnTo>
                    <a:pt x="116" y="124"/>
                  </a:lnTo>
                  <a:lnTo>
                    <a:pt x="108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0" y="134"/>
                  </a:lnTo>
                  <a:lnTo>
                    <a:pt x="80" y="136"/>
                  </a:lnTo>
                  <a:lnTo>
                    <a:pt x="70" y="134"/>
                  </a:lnTo>
                  <a:lnTo>
                    <a:pt x="62" y="130"/>
                  </a:lnTo>
                  <a:lnTo>
                    <a:pt x="54" y="124"/>
                  </a:lnTo>
                  <a:lnTo>
                    <a:pt x="46" y="118"/>
                  </a:lnTo>
                  <a:lnTo>
                    <a:pt x="40" y="11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4" y="90"/>
                  </a:lnTo>
                  <a:lnTo>
                    <a:pt x="34" y="80"/>
                  </a:lnTo>
                  <a:lnTo>
                    <a:pt x="36" y="72"/>
                  </a:lnTo>
                  <a:lnTo>
                    <a:pt x="40" y="62"/>
                  </a:lnTo>
                  <a:lnTo>
                    <a:pt x="46" y="54"/>
                  </a:lnTo>
                  <a:lnTo>
                    <a:pt x="52" y="48"/>
                  </a:lnTo>
                  <a:lnTo>
                    <a:pt x="60" y="42"/>
                  </a:lnTo>
                  <a:lnTo>
                    <a:pt x="70" y="38"/>
                  </a:lnTo>
                  <a:lnTo>
                    <a:pt x="70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1" name="Freeform 30">
            <a:extLst>
              <a:ext uri="{FF2B5EF4-FFF2-40B4-BE49-F238E27FC236}">
                <a16:creationId xmlns:a16="http://schemas.microsoft.com/office/drawing/2014/main" id="{028D9C6C-33A0-44BB-A621-9F8EE25C759A}"/>
              </a:ext>
            </a:extLst>
          </p:cNvPr>
          <p:cNvSpPr>
            <a:spLocks noEditPoints="1"/>
          </p:cNvSpPr>
          <p:nvPr/>
        </p:nvSpPr>
        <p:spPr bwMode="auto">
          <a:xfrm>
            <a:off x="936789" y="2565204"/>
            <a:ext cx="690524" cy="586438"/>
          </a:xfrm>
          <a:custGeom>
            <a:avLst/>
            <a:gdLst>
              <a:gd name="T0" fmla="*/ 773 w 1545"/>
              <a:gd name="T1" fmla="*/ 0 h 1545"/>
              <a:gd name="T2" fmla="*/ 0 w 1545"/>
              <a:gd name="T3" fmla="*/ 773 h 1545"/>
              <a:gd name="T4" fmla="*/ 773 w 1545"/>
              <a:gd name="T5" fmla="*/ 1545 h 1545"/>
              <a:gd name="T6" fmla="*/ 1545 w 1545"/>
              <a:gd name="T7" fmla="*/ 773 h 1545"/>
              <a:gd name="T8" fmla="*/ 773 w 1545"/>
              <a:gd name="T9" fmla="*/ 0 h 1545"/>
              <a:gd name="T10" fmla="*/ 1217 w 1545"/>
              <a:gd name="T11" fmla="*/ 1217 h 1545"/>
              <a:gd name="T12" fmla="*/ 845 w 1545"/>
              <a:gd name="T13" fmla="*/ 1397 h 1545"/>
              <a:gd name="T14" fmla="*/ 845 w 1545"/>
              <a:gd name="T15" fmla="*/ 1215 h 1545"/>
              <a:gd name="T16" fmla="*/ 701 w 1545"/>
              <a:gd name="T17" fmla="*/ 1215 h 1545"/>
              <a:gd name="T18" fmla="*/ 701 w 1545"/>
              <a:gd name="T19" fmla="*/ 1397 h 1545"/>
              <a:gd name="T20" fmla="*/ 328 w 1545"/>
              <a:gd name="T21" fmla="*/ 1217 h 1545"/>
              <a:gd name="T22" fmla="*/ 148 w 1545"/>
              <a:gd name="T23" fmla="*/ 845 h 1545"/>
              <a:gd name="T24" fmla="*/ 330 w 1545"/>
              <a:gd name="T25" fmla="*/ 845 h 1545"/>
              <a:gd name="T26" fmla="*/ 330 w 1545"/>
              <a:gd name="T27" fmla="*/ 701 h 1545"/>
              <a:gd name="T28" fmla="*/ 148 w 1545"/>
              <a:gd name="T29" fmla="*/ 701 h 1545"/>
              <a:gd name="T30" fmla="*/ 328 w 1545"/>
              <a:gd name="T31" fmla="*/ 328 h 1545"/>
              <a:gd name="T32" fmla="*/ 701 w 1545"/>
              <a:gd name="T33" fmla="*/ 149 h 1545"/>
              <a:gd name="T34" fmla="*/ 701 w 1545"/>
              <a:gd name="T35" fmla="*/ 330 h 1545"/>
              <a:gd name="T36" fmla="*/ 845 w 1545"/>
              <a:gd name="T37" fmla="*/ 330 h 1545"/>
              <a:gd name="T38" fmla="*/ 845 w 1545"/>
              <a:gd name="T39" fmla="*/ 149 h 1545"/>
              <a:gd name="T40" fmla="*/ 1217 w 1545"/>
              <a:gd name="T41" fmla="*/ 328 h 1545"/>
              <a:gd name="T42" fmla="*/ 1397 w 1545"/>
              <a:gd name="T43" fmla="*/ 701 h 1545"/>
              <a:gd name="T44" fmla="*/ 1215 w 1545"/>
              <a:gd name="T45" fmla="*/ 701 h 1545"/>
              <a:gd name="T46" fmla="*/ 1215 w 1545"/>
              <a:gd name="T47" fmla="*/ 845 h 1545"/>
              <a:gd name="T48" fmla="*/ 1397 w 1545"/>
              <a:gd name="T49" fmla="*/ 845 h 1545"/>
              <a:gd name="T50" fmla="*/ 1217 w 1545"/>
              <a:gd name="T51" fmla="*/ 1217 h 1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45" h="1545">
                <a:moveTo>
                  <a:pt x="773" y="0"/>
                </a:moveTo>
                <a:cubicBezTo>
                  <a:pt x="346" y="0"/>
                  <a:pt x="0" y="346"/>
                  <a:pt x="0" y="773"/>
                </a:cubicBezTo>
                <a:cubicBezTo>
                  <a:pt x="0" y="1199"/>
                  <a:pt x="346" y="1545"/>
                  <a:pt x="773" y="1545"/>
                </a:cubicBezTo>
                <a:cubicBezTo>
                  <a:pt x="1199" y="1545"/>
                  <a:pt x="1545" y="1199"/>
                  <a:pt x="1545" y="773"/>
                </a:cubicBezTo>
                <a:cubicBezTo>
                  <a:pt x="1545" y="346"/>
                  <a:pt x="1199" y="0"/>
                  <a:pt x="773" y="0"/>
                </a:cubicBezTo>
                <a:close/>
                <a:moveTo>
                  <a:pt x="1217" y="1217"/>
                </a:moveTo>
                <a:cubicBezTo>
                  <a:pt x="1115" y="1319"/>
                  <a:pt x="985" y="1381"/>
                  <a:pt x="845" y="1397"/>
                </a:cubicBezTo>
                <a:cubicBezTo>
                  <a:pt x="845" y="1215"/>
                  <a:pt x="845" y="1215"/>
                  <a:pt x="845" y="1215"/>
                </a:cubicBezTo>
                <a:cubicBezTo>
                  <a:pt x="701" y="1215"/>
                  <a:pt x="701" y="1215"/>
                  <a:pt x="701" y="1215"/>
                </a:cubicBezTo>
                <a:cubicBezTo>
                  <a:pt x="701" y="1397"/>
                  <a:pt x="701" y="1397"/>
                  <a:pt x="701" y="1397"/>
                </a:cubicBezTo>
                <a:cubicBezTo>
                  <a:pt x="560" y="1381"/>
                  <a:pt x="430" y="1319"/>
                  <a:pt x="328" y="1217"/>
                </a:cubicBezTo>
                <a:cubicBezTo>
                  <a:pt x="227" y="1115"/>
                  <a:pt x="164" y="985"/>
                  <a:pt x="148" y="845"/>
                </a:cubicBezTo>
                <a:cubicBezTo>
                  <a:pt x="330" y="845"/>
                  <a:pt x="330" y="845"/>
                  <a:pt x="330" y="845"/>
                </a:cubicBezTo>
                <a:cubicBezTo>
                  <a:pt x="330" y="701"/>
                  <a:pt x="330" y="701"/>
                  <a:pt x="330" y="701"/>
                </a:cubicBezTo>
                <a:cubicBezTo>
                  <a:pt x="148" y="701"/>
                  <a:pt x="148" y="701"/>
                  <a:pt x="148" y="701"/>
                </a:cubicBezTo>
                <a:cubicBezTo>
                  <a:pt x="164" y="560"/>
                  <a:pt x="227" y="430"/>
                  <a:pt x="328" y="328"/>
                </a:cubicBezTo>
                <a:cubicBezTo>
                  <a:pt x="430" y="227"/>
                  <a:pt x="560" y="164"/>
                  <a:pt x="701" y="149"/>
                </a:cubicBezTo>
                <a:cubicBezTo>
                  <a:pt x="701" y="330"/>
                  <a:pt x="701" y="330"/>
                  <a:pt x="701" y="330"/>
                </a:cubicBezTo>
                <a:cubicBezTo>
                  <a:pt x="845" y="330"/>
                  <a:pt x="845" y="330"/>
                  <a:pt x="845" y="330"/>
                </a:cubicBezTo>
                <a:cubicBezTo>
                  <a:pt x="845" y="149"/>
                  <a:pt x="845" y="149"/>
                  <a:pt x="845" y="149"/>
                </a:cubicBezTo>
                <a:cubicBezTo>
                  <a:pt x="985" y="164"/>
                  <a:pt x="1115" y="227"/>
                  <a:pt x="1217" y="328"/>
                </a:cubicBezTo>
                <a:cubicBezTo>
                  <a:pt x="1318" y="430"/>
                  <a:pt x="1381" y="560"/>
                  <a:pt x="1397" y="701"/>
                </a:cubicBezTo>
                <a:cubicBezTo>
                  <a:pt x="1215" y="701"/>
                  <a:pt x="1215" y="701"/>
                  <a:pt x="1215" y="701"/>
                </a:cubicBezTo>
                <a:cubicBezTo>
                  <a:pt x="1215" y="845"/>
                  <a:pt x="1215" y="845"/>
                  <a:pt x="1215" y="845"/>
                </a:cubicBezTo>
                <a:cubicBezTo>
                  <a:pt x="1397" y="845"/>
                  <a:pt x="1397" y="845"/>
                  <a:pt x="1397" y="845"/>
                </a:cubicBezTo>
                <a:cubicBezTo>
                  <a:pt x="1381" y="985"/>
                  <a:pt x="1318" y="1115"/>
                  <a:pt x="1217" y="1217"/>
                </a:cubicBezTo>
                <a:close/>
              </a:path>
            </a:pathLst>
          </a:custGeom>
          <a:solidFill>
            <a:srgbClr val="281051">
              <a:lumMod val="25000"/>
              <a:lumOff val="75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Freeform 17">
            <a:extLst>
              <a:ext uri="{FF2B5EF4-FFF2-40B4-BE49-F238E27FC236}">
                <a16:creationId xmlns:a16="http://schemas.microsoft.com/office/drawing/2014/main" id="{A66DDDD8-CB88-445C-8344-12B26EE1EB5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0292" y="3605646"/>
            <a:ext cx="554745" cy="658135"/>
          </a:xfrm>
          <a:custGeom>
            <a:avLst/>
            <a:gdLst/>
            <a:ahLst/>
            <a:cxnLst>
              <a:cxn ang="0">
                <a:pos x="1" y="132"/>
              </a:cxn>
              <a:cxn ang="0">
                <a:pos x="7" y="95"/>
              </a:cxn>
              <a:cxn ang="0">
                <a:pos x="33" y="76"/>
              </a:cxn>
              <a:cxn ang="0">
                <a:pos x="37" y="76"/>
              </a:cxn>
              <a:cxn ang="0">
                <a:pos x="65" y="81"/>
              </a:cxn>
              <a:cxn ang="0">
                <a:pos x="63" y="86"/>
              </a:cxn>
              <a:cxn ang="0">
                <a:pos x="55" y="132"/>
              </a:cxn>
              <a:cxn ang="0">
                <a:pos x="55" y="183"/>
              </a:cxn>
              <a:cxn ang="0">
                <a:pos x="79" y="202"/>
              </a:cxn>
              <a:cxn ang="0">
                <a:pos x="80" y="278"/>
              </a:cxn>
              <a:cxn ang="0">
                <a:pos x="55" y="275"/>
              </a:cxn>
              <a:cxn ang="0">
                <a:pos x="23" y="266"/>
              </a:cxn>
              <a:cxn ang="0">
                <a:pos x="22" y="182"/>
              </a:cxn>
              <a:cxn ang="0">
                <a:pos x="1" y="177"/>
              </a:cxn>
              <a:cxn ang="0">
                <a:pos x="1" y="132"/>
              </a:cxn>
              <a:cxn ang="0">
                <a:pos x="79" y="39"/>
              </a:cxn>
              <a:cxn ang="0">
                <a:pos x="55" y="16"/>
              </a:cxn>
              <a:cxn ang="0">
                <a:pos x="30" y="39"/>
              </a:cxn>
              <a:cxn ang="0">
                <a:pos x="79" y="39"/>
              </a:cxn>
              <a:cxn ang="0">
                <a:pos x="185" y="81"/>
              </a:cxn>
              <a:cxn ang="0">
                <a:pos x="214" y="76"/>
              </a:cxn>
              <a:cxn ang="0">
                <a:pos x="218" y="76"/>
              </a:cxn>
              <a:cxn ang="0">
                <a:pos x="244" y="95"/>
              </a:cxn>
              <a:cxn ang="0">
                <a:pos x="250" y="132"/>
              </a:cxn>
              <a:cxn ang="0">
                <a:pos x="250" y="177"/>
              </a:cxn>
              <a:cxn ang="0">
                <a:pos x="229" y="182"/>
              </a:cxn>
              <a:cxn ang="0">
                <a:pos x="227" y="266"/>
              </a:cxn>
              <a:cxn ang="0">
                <a:pos x="196" y="275"/>
              </a:cxn>
              <a:cxn ang="0">
                <a:pos x="170" y="278"/>
              </a:cxn>
              <a:cxn ang="0">
                <a:pos x="172" y="202"/>
              </a:cxn>
              <a:cxn ang="0">
                <a:pos x="196" y="183"/>
              </a:cxn>
              <a:cxn ang="0">
                <a:pos x="196" y="132"/>
              </a:cxn>
              <a:cxn ang="0">
                <a:pos x="188" y="86"/>
              </a:cxn>
              <a:cxn ang="0">
                <a:pos x="185" y="81"/>
              </a:cxn>
              <a:cxn ang="0">
                <a:pos x="220" y="39"/>
              </a:cxn>
              <a:cxn ang="0">
                <a:pos x="196" y="16"/>
              </a:cxn>
              <a:cxn ang="0">
                <a:pos x="172" y="39"/>
              </a:cxn>
              <a:cxn ang="0">
                <a:pos x="220" y="39"/>
              </a:cxn>
              <a:cxn ang="0">
                <a:pos x="64" y="132"/>
              </a:cxn>
              <a:cxn ang="0">
                <a:pos x="71" y="90"/>
              </a:cxn>
              <a:cxn ang="0">
                <a:pos x="100" y="69"/>
              </a:cxn>
              <a:cxn ang="0">
                <a:pos x="105" y="69"/>
              </a:cxn>
              <a:cxn ang="0">
                <a:pos x="146" y="69"/>
              </a:cxn>
              <a:cxn ang="0">
                <a:pos x="150" y="69"/>
              </a:cxn>
              <a:cxn ang="0">
                <a:pos x="180" y="90"/>
              </a:cxn>
              <a:cxn ang="0">
                <a:pos x="187" y="132"/>
              </a:cxn>
              <a:cxn ang="0">
                <a:pos x="187" y="183"/>
              </a:cxn>
              <a:cxn ang="0">
                <a:pos x="163" y="189"/>
              </a:cxn>
              <a:cxn ang="0">
                <a:pos x="161" y="285"/>
              </a:cxn>
              <a:cxn ang="0">
                <a:pos x="125" y="295"/>
              </a:cxn>
              <a:cxn ang="0">
                <a:pos x="89" y="285"/>
              </a:cxn>
              <a:cxn ang="0">
                <a:pos x="88" y="189"/>
              </a:cxn>
              <a:cxn ang="0">
                <a:pos x="64" y="183"/>
              </a:cxn>
              <a:cxn ang="0">
                <a:pos x="64" y="132"/>
              </a:cxn>
              <a:cxn ang="0">
                <a:pos x="153" y="27"/>
              </a:cxn>
              <a:cxn ang="0">
                <a:pos x="125" y="0"/>
              </a:cxn>
              <a:cxn ang="0">
                <a:pos x="98" y="27"/>
              </a:cxn>
              <a:cxn ang="0">
                <a:pos x="153" y="27"/>
              </a:cxn>
            </a:cxnLst>
            <a:rect l="0" t="0" r="r" b="b"/>
            <a:pathLst>
              <a:path w="251" h="308">
                <a:moveTo>
                  <a:pt x="1" y="132"/>
                </a:moveTo>
                <a:cubicBezTo>
                  <a:pt x="1" y="119"/>
                  <a:pt x="1" y="105"/>
                  <a:pt x="7" y="95"/>
                </a:cubicBezTo>
                <a:cubicBezTo>
                  <a:pt x="12" y="85"/>
                  <a:pt x="21" y="76"/>
                  <a:pt x="33" y="76"/>
                </a:cubicBezTo>
                <a:cubicBezTo>
                  <a:pt x="37" y="76"/>
                  <a:pt x="37" y="76"/>
                  <a:pt x="37" y="76"/>
                </a:cubicBezTo>
                <a:cubicBezTo>
                  <a:pt x="44" y="84"/>
                  <a:pt x="56" y="86"/>
                  <a:pt x="65" y="81"/>
                </a:cubicBezTo>
                <a:cubicBezTo>
                  <a:pt x="65" y="83"/>
                  <a:pt x="64" y="84"/>
                  <a:pt x="63" y="86"/>
                </a:cubicBezTo>
                <a:cubicBezTo>
                  <a:pt x="56" y="100"/>
                  <a:pt x="55" y="117"/>
                  <a:pt x="55" y="132"/>
                </a:cubicBezTo>
                <a:cubicBezTo>
                  <a:pt x="55" y="149"/>
                  <a:pt x="56" y="166"/>
                  <a:pt x="55" y="183"/>
                </a:cubicBezTo>
                <a:cubicBezTo>
                  <a:pt x="54" y="195"/>
                  <a:pt x="67" y="202"/>
                  <a:pt x="79" y="202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73" y="283"/>
                  <a:pt x="61" y="283"/>
                  <a:pt x="55" y="275"/>
                </a:cubicBezTo>
                <a:cubicBezTo>
                  <a:pt x="45" y="286"/>
                  <a:pt x="23" y="282"/>
                  <a:pt x="23" y="266"/>
                </a:cubicBezTo>
                <a:cubicBezTo>
                  <a:pt x="22" y="182"/>
                  <a:pt x="22" y="182"/>
                  <a:pt x="22" y="182"/>
                </a:cubicBezTo>
                <a:cubicBezTo>
                  <a:pt x="17" y="187"/>
                  <a:pt x="0" y="185"/>
                  <a:pt x="1" y="177"/>
                </a:cubicBezTo>
                <a:cubicBezTo>
                  <a:pt x="1" y="158"/>
                  <a:pt x="1" y="150"/>
                  <a:pt x="1" y="132"/>
                </a:cubicBezTo>
                <a:close/>
                <a:moveTo>
                  <a:pt x="79" y="39"/>
                </a:moveTo>
                <a:cubicBezTo>
                  <a:pt x="78" y="26"/>
                  <a:pt x="69" y="16"/>
                  <a:pt x="55" y="16"/>
                </a:cubicBezTo>
                <a:cubicBezTo>
                  <a:pt x="39" y="16"/>
                  <a:pt x="31" y="26"/>
                  <a:pt x="30" y="39"/>
                </a:cubicBezTo>
                <a:cubicBezTo>
                  <a:pt x="30" y="90"/>
                  <a:pt x="79" y="89"/>
                  <a:pt x="79" y="39"/>
                </a:cubicBezTo>
                <a:close/>
                <a:moveTo>
                  <a:pt x="185" y="81"/>
                </a:moveTo>
                <a:cubicBezTo>
                  <a:pt x="195" y="86"/>
                  <a:pt x="206" y="84"/>
                  <a:pt x="214" y="76"/>
                </a:cubicBezTo>
                <a:cubicBezTo>
                  <a:pt x="218" y="76"/>
                  <a:pt x="218" y="76"/>
                  <a:pt x="218" y="76"/>
                </a:cubicBezTo>
                <a:cubicBezTo>
                  <a:pt x="229" y="76"/>
                  <a:pt x="239" y="85"/>
                  <a:pt x="244" y="95"/>
                </a:cubicBezTo>
                <a:cubicBezTo>
                  <a:pt x="249" y="105"/>
                  <a:pt x="250" y="119"/>
                  <a:pt x="250" y="132"/>
                </a:cubicBezTo>
                <a:cubicBezTo>
                  <a:pt x="250" y="150"/>
                  <a:pt x="250" y="158"/>
                  <a:pt x="250" y="177"/>
                </a:cubicBezTo>
                <a:cubicBezTo>
                  <a:pt x="251" y="185"/>
                  <a:pt x="233" y="187"/>
                  <a:pt x="229" y="182"/>
                </a:cubicBezTo>
                <a:cubicBezTo>
                  <a:pt x="227" y="266"/>
                  <a:pt x="227" y="266"/>
                  <a:pt x="227" y="266"/>
                </a:cubicBezTo>
                <a:cubicBezTo>
                  <a:pt x="227" y="282"/>
                  <a:pt x="205" y="286"/>
                  <a:pt x="196" y="275"/>
                </a:cubicBezTo>
                <a:cubicBezTo>
                  <a:pt x="190" y="283"/>
                  <a:pt x="177" y="283"/>
                  <a:pt x="170" y="278"/>
                </a:cubicBezTo>
                <a:cubicBezTo>
                  <a:pt x="172" y="202"/>
                  <a:pt x="172" y="202"/>
                  <a:pt x="172" y="202"/>
                </a:cubicBezTo>
                <a:cubicBezTo>
                  <a:pt x="183" y="202"/>
                  <a:pt x="196" y="195"/>
                  <a:pt x="196" y="183"/>
                </a:cubicBezTo>
                <a:cubicBezTo>
                  <a:pt x="195" y="166"/>
                  <a:pt x="196" y="149"/>
                  <a:pt x="196" y="132"/>
                </a:cubicBezTo>
                <a:cubicBezTo>
                  <a:pt x="196" y="117"/>
                  <a:pt x="195" y="100"/>
                  <a:pt x="188" y="86"/>
                </a:cubicBezTo>
                <a:cubicBezTo>
                  <a:pt x="187" y="84"/>
                  <a:pt x="186" y="83"/>
                  <a:pt x="185" y="81"/>
                </a:cubicBezTo>
                <a:close/>
                <a:moveTo>
                  <a:pt x="220" y="39"/>
                </a:moveTo>
                <a:cubicBezTo>
                  <a:pt x="220" y="26"/>
                  <a:pt x="210" y="16"/>
                  <a:pt x="196" y="16"/>
                </a:cubicBezTo>
                <a:cubicBezTo>
                  <a:pt x="181" y="16"/>
                  <a:pt x="172" y="26"/>
                  <a:pt x="172" y="39"/>
                </a:cubicBezTo>
                <a:cubicBezTo>
                  <a:pt x="172" y="90"/>
                  <a:pt x="220" y="89"/>
                  <a:pt x="220" y="39"/>
                </a:cubicBezTo>
                <a:close/>
                <a:moveTo>
                  <a:pt x="64" y="132"/>
                </a:moveTo>
                <a:cubicBezTo>
                  <a:pt x="64" y="118"/>
                  <a:pt x="65" y="102"/>
                  <a:pt x="71" y="90"/>
                </a:cubicBezTo>
                <a:cubicBezTo>
                  <a:pt x="77" y="79"/>
                  <a:pt x="88" y="69"/>
                  <a:pt x="100" y="69"/>
                </a:cubicBezTo>
                <a:cubicBezTo>
                  <a:pt x="105" y="69"/>
                  <a:pt x="105" y="69"/>
                  <a:pt x="105" y="69"/>
                </a:cubicBezTo>
                <a:cubicBezTo>
                  <a:pt x="117" y="80"/>
                  <a:pt x="134" y="80"/>
                  <a:pt x="146" y="69"/>
                </a:cubicBezTo>
                <a:cubicBezTo>
                  <a:pt x="150" y="69"/>
                  <a:pt x="150" y="69"/>
                  <a:pt x="150" y="69"/>
                </a:cubicBezTo>
                <a:cubicBezTo>
                  <a:pt x="163" y="69"/>
                  <a:pt x="174" y="79"/>
                  <a:pt x="180" y="90"/>
                </a:cubicBezTo>
                <a:cubicBezTo>
                  <a:pt x="186" y="102"/>
                  <a:pt x="187" y="118"/>
                  <a:pt x="187" y="132"/>
                </a:cubicBezTo>
                <a:cubicBezTo>
                  <a:pt x="187" y="153"/>
                  <a:pt x="187" y="162"/>
                  <a:pt x="187" y="183"/>
                </a:cubicBezTo>
                <a:cubicBezTo>
                  <a:pt x="187" y="193"/>
                  <a:pt x="168" y="196"/>
                  <a:pt x="163" y="189"/>
                </a:cubicBezTo>
                <a:cubicBezTo>
                  <a:pt x="161" y="285"/>
                  <a:pt x="161" y="285"/>
                  <a:pt x="161" y="285"/>
                </a:cubicBezTo>
                <a:cubicBezTo>
                  <a:pt x="161" y="304"/>
                  <a:pt x="136" y="308"/>
                  <a:pt x="125" y="295"/>
                </a:cubicBezTo>
                <a:cubicBezTo>
                  <a:pt x="115" y="308"/>
                  <a:pt x="89" y="304"/>
                  <a:pt x="89" y="285"/>
                </a:cubicBezTo>
                <a:cubicBezTo>
                  <a:pt x="88" y="189"/>
                  <a:pt x="88" y="189"/>
                  <a:pt x="88" y="189"/>
                </a:cubicBezTo>
                <a:cubicBezTo>
                  <a:pt x="83" y="196"/>
                  <a:pt x="63" y="193"/>
                  <a:pt x="64" y="183"/>
                </a:cubicBezTo>
                <a:cubicBezTo>
                  <a:pt x="64" y="162"/>
                  <a:pt x="64" y="153"/>
                  <a:pt x="64" y="132"/>
                </a:cubicBezTo>
                <a:close/>
                <a:moveTo>
                  <a:pt x="153" y="27"/>
                </a:moveTo>
                <a:cubicBezTo>
                  <a:pt x="153" y="12"/>
                  <a:pt x="142" y="0"/>
                  <a:pt x="125" y="0"/>
                </a:cubicBezTo>
                <a:cubicBezTo>
                  <a:pt x="108" y="0"/>
                  <a:pt x="98" y="12"/>
                  <a:pt x="98" y="27"/>
                </a:cubicBezTo>
                <a:cubicBezTo>
                  <a:pt x="98" y="84"/>
                  <a:pt x="153" y="83"/>
                  <a:pt x="153" y="27"/>
                </a:cubicBezTo>
                <a:close/>
              </a:path>
            </a:pathLst>
          </a:custGeom>
          <a:solidFill>
            <a:srgbClr val="ED6737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Group 205">
            <a:extLst>
              <a:ext uri="{FF2B5EF4-FFF2-40B4-BE49-F238E27FC236}">
                <a16:creationId xmlns:a16="http://schemas.microsoft.com/office/drawing/2014/main" id="{70393CFB-8132-4C53-8F1D-17CA71403183}"/>
              </a:ext>
            </a:extLst>
          </p:cNvPr>
          <p:cNvGrpSpPr>
            <a:grpSpLocks noChangeAspect="1"/>
          </p:cNvGrpSpPr>
          <p:nvPr/>
        </p:nvGrpSpPr>
        <p:grpSpPr>
          <a:xfrm>
            <a:off x="997276" y="4658336"/>
            <a:ext cx="654877" cy="716643"/>
            <a:chOff x="2679700" y="2424113"/>
            <a:chExt cx="846138" cy="960684"/>
          </a:xfrm>
          <a:solidFill>
            <a:srgbClr val="FBB040"/>
          </a:solidFill>
        </p:grpSpPr>
        <p:sp>
          <p:nvSpPr>
            <p:cNvPr id="34" name="Freeform 51">
              <a:extLst>
                <a:ext uri="{FF2B5EF4-FFF2-40B4-BE49-F238E27FC236}">
                  <a16:creationId xmlns:a16="http://schemas.microsoft.com/office/drawing/2014/main" id="{D85C2A0A-2A67-4CA9-A577-4CC746F75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2730500"/>
              <a:ext cx="9525" cy="7937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5" y="4"/>
                </a:cxn>
                <a:cxn ang="0">
                  <a:pos x="0" y="0"/>
                </a:cxn>
                <a:cxn ang="0">
                  <a:pos x="5" y="3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3" y="3"/>
                    <a:pt x="2" y="1"/>
                    <a:pt x="0" y="0"/>
                  </a:cubicBezTo>
                  <a:lnTo>
                    <a:pt x="5" y="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52">
              <a:extLst>
                <a:ext uri="{FF2B5EF4-FFF2-40B4-BE49-F238E27FC236}">
                  <a16:creationId xmlns:a16="http://schemas.microsoft.com/office/drawing/2014/main" id="{64B4F3DB-ACCF-448A-B224-EB40D8B8F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988" y="2732088"/>
              <a:ext cx="11113" cy="6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2"/>
                </a:cxn>
                <a:cxn ang="0">
                  <a:pos x="6" y="3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0" y="0"/>
                  </a:moveTo>
                  <a:cubicBezTo>
                    <a:pt x="2" y="1"/>
                    <a:pt x="4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46D125AE-ED9F-4754-846E-94296AE12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9700" y="2424113"/>
              <a:ext cx="496888" cy="442912"/>
            </a:xfrm>
            <a:custGeom>
              <a:avLst/>
              <a:gdLst/>
              <a:ahLst/>
              <a:cxnLst>
                <a:cxn ang="0">
                  <a:pos x="235" y="178"/>
                </a:cxn>
                <a:cxn ang="0">
                  <a:pos x="175" y="231"/>
                </a:cxn>
                <a:cxn ang="0">
                  <a:pos x="169" y="230"/>
                </a:cxn>
                <a:cxn ang="0">
                  <a:pos x="15" y="142"/>
                </a:cxn>
                <a:cxn ang="0">
                  <a:pos x="12" y="140"/>
                </a:cxn>
                <a:cxn ang="0">
                  <a:pos x="26" y="58"/>
                </a:cxn>
                <a:cxn ang="0">
                  <a:pos x="89" y="5"/>
                </a:cxn>
                <a:cxn ang="0">
                  <a:pos x="92" y="6"/>
                </a:cxn>
                <a:cxn ang="0">
                  <a:pos x="246" y="94"/>
                </a:cxn>
                <a:cxn ang="0">
                  <a:pos x="251" y="98"/>
                </a:cxn>
                <a:cxn ang="0">
                  <a:pos x="235" y="178"/>
                </a:cxn>
              </a:cxnLst>
              <a:rect l="0" t="0" r="r" b="b"/>
              <a:pathLst>
                <a:path w="260" h="232">
                  <a:moveTo>
                    <a:pt x="235" y="178"/>
                  </a:moveTo>
                  <a:cubicBezTo>
                    <a:pt x="217" y="210"/>
                    <a:pt x="191" y="232"/>
                    <a:pt x="175" y="231"/>
                  </a:cubicBezTo>
                  <a:cubicBezTo>
                    <a:pt x="173" y="231"/>
                    <a:pt x="171" y="231"/>
                    <a:pt x="169" y="230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4" y="141"/>
                    <a:pt x="13" y="141"/>
                    <a:pt x="12" y="140"/>
                  </a:cubicBezTo>
                  <a:cubicBezTo>
                    <a:pt x="0" y="128"/>
                    <a:pt x="6" y="93"/>
                    <a:pt x="26" y="58"/>
                  </a:cubicBezTo>
                  <a:cubicBezTo>
                    <a:pt x="45" y="23"/>
                    <a:pt x="73" y="0"/>
                    <a:pt x="89" y="5"/>
                  </a:cubicBezTo>
                  <a:cubicBezTo>
                    <a:pt x="90" y="5"/>
                    <a:pt x="91" y="5"/>
                    <a:pt x="92" y="6"/>
                  </a:cubicBezTo>
                  <a:cubicBezTo>
                    <a:pt x="246" y="94"/>
                    <a:pt x="246" y="94"/>
                    <a:pt x="246" y="94"/>
                  </a:cubicBezTo>
                  <a:cubicBezTo>
                    <a:pt x="248" y="95"/>
                    <a:pt x="250" y="96"/>
                    <a:pt x="251" y="98"/>
                  </a:cubicBezTo>
                  <a:cubicBezTo>
                    <a:pt x="260" y="112"/>
                    <a:pt x="254" y="145"/>
                    <a:pt x="235" y="17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F2C1F91D-D522-44BD-89E6-E87C82635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9738" y="2647950"/>
              <a:ext cx="368300" cy="301625"/>
            </a:xfrm>
            <a:custGeom>
              <a:avLst/>
              <a:gdLst/>
              <a:ahLst/>
              <a:cxnLst>
                <a:cxn ang="0">
                  <a:pos x="42" y="113"/>
                </a:cxn>
                <a:cxn ang="0">
                  <a:pos x="94" y="69"/>
                </a:cxn>
                <a:cxn ang="0">
                  <a:pos x="106" y="1"/>
                </a:cxn>
                <a:cxn ang="0">
                  <a:pos x="105" y="0"/>
                </a:cxn>
                <a:cxn ang="0">
                  <a:pos x="106" y="0"/>
                </a:cxn>
                <a:cxn ang="0">
                  <a:pos x="179" y="42"/>
                </a:cxn>
                <a:cxn ang="0">
                  <a:pos x="176" y="115"/>
                </a:cxn>
                <a:cxn ang="0">
                  <a:pos x="115" y="155"/>
                </a:cxn>
                <a:cxn ang="0">
                  <a:pos x="0" y="90"/>
                </a:cxn>
                <a:cxn ang="0">
                  <a:pos x="40" y="113"/>
                </a:cxn>
                <a:cxn ang="0">
                  <a:pos x="42" y="113"/>
                </a:cxn>
              </a:cxnLst>
              <a:rect l="0" t="0" r="r" b="b"/>
              <a:pathLst>
                <a:path w="193" h="158">
                  <a:moveTo>
                    <a:pt x="42" y="113"/>
                  </a:moveTo>
                  <a:cubicBezTo>
                    <a:pt x="55" y="117"/>
                    <a:pt x="78" y="98"/>
                    <a:pt x="94" y="69"/>
                  </a:cubicBezTo>
                  <a:cubicBezTo>
                    <a:pt x="111" y="39"/>
                    <a:pt x="115" y="10"/>
                    <a:pt x="106" y="1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0"/>
                    <a:pt x="106" y="0"/>
                    <a:pt x="106" y="0"/>
                  </a:cubicBezTo>
                  <a:cubicBezTo>
                    <a:pt x="106" y="0"/>
                    <a:pt x="179" y="42"/>
                    <a:pt x="179" y="42"/>
                  </a:cubicBezTo>
                  <a:cubicBezTo>
                    <a:pt x="189" y="52"/>
                    <a:pt x="193" y="86"/>
                    <a:pt x="176" y="115"/>
                  </a:cubicBezTo>
                  <a:cubicBezTo>
                    <a:pt x="159" y="144"/>
                    <a:pt x="129" y="158"/>
                    <a:pt x="115" y="155"/>
                  </a:cubicBezTo>
                  <a:cubicBezTo>
                    <a:pt x="114" y="155"/>
                    <a:pt x="0" y="90"/>
                    <a:pt x="0" y="90"/>
                  </a:cubicBezTo>
                  <a:cubicBezTo>
                    <a:pt x="0" y="90"/>
                    <a:pt x="41" y="113"/>
                    <a:pt x="40" y="113"/>
                  </a:cubicBezTo>
                  <a:cubicBezTo>
                    <a:pt x="41" y="113"/>
                    <a:pt x="41" y="113"/>
                    <a:pt x="42" y="1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90DE8B01-3450-40E9-8A04-9BA4BE5A7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2792413"/>
              <a:ext cx="261938" cy="227012"/>
            </a:xfrm>
            <a:custGeom>
              <a:avLst/>
              <a:gdLst/>
              <a:ahLst/>
              <a:cxnLst>
                <a:cxn ang="0">
                  <a:pos x="129" y="98"/>
                </a:cxn>
                <a:cxn ang="0">
                  <a:pos x="98" y="113"/>
                </a:cxn>
                <a:cxn ang="0">
                  <a:pos x="81" y="104"/>
                </a:cxn>
                <a:cxn ang="0">
                  <a:pos x="77" y="100"/>
                </a:cxn>
                <a:cxn ang="0">
                  <a:pos x="54" y="107"/>
                </a:cxn>
                <a:cxn ang="0">
                  <a:pos x="0" y="76"/>
                </a:cxn>
                <a:cxn ang="0">
                  <a:pos x="3" y="78"/>
                </a:cxn>
                <a:cxn ang="0">
                  <a:pos x="3" y="78"/>
                </a:cxn>
                <a:cxn ang="0">
                  <a:pos x="40" y="47"/>
                </a:cxn>
                <a:cxn ang="0">
                  <a:pos x="48" y="0"/>
                </a:cxn>
                <a:cxn ang="0">
                  <a:pos x="47" y="0"/>
                </a:cxn>
                <a:cxn ang="0">
                  <a:pos x="48" y="0"/>
                </a:cxn>
                <a:cxn ang="0">
                  <a:pos x="99" y="29"/>
                </a:cxn>
                <a:cxn ang="0">
                  <a:pos x="104" y="53"/>
                </a:cxn>
                <a:cxn ang="0">
                  <a:pos x="109" y="54"/>
                </a:cxn>
                <a:cxn ang="0">
                  <a:pos x="126" y="64"/>
                </a:cxn>
                <a:cxn ang="0">
                  <a:pos x="129" y="98"/>
                </a:cxn>
              </a:cxnLst>
              <a:rect l="0" t="0" r="r" b="b"/>
              <a:pathLst>
                <a:path w="137" h="119">
                  <a:moveTo>
                    <a:pt x="129" y="98"/>
                  </a:moveTo>
                  <a:cubicBezTo>
                    <a:pt x="122" y="112"/>
                    <a:pt x="107" y="119"/>
                    <a:pt x="98" y="113"/>
                  </a:cubicBezTo>
                  <a:cubicBezTo>
                    <a:pt x="81" y="104"/>
                    <a:pt x="81" y="104"/>
                    <a:pt x="81" y="104"/>
                  </a:cubicBezTo>
                  <a:cubicBezTo>
                    <a:pt x="80" y="103"/>
                    <a:pt x="78" y="102"/>
                    <a:pt x="77" y="100"/>
                  </a:cubicBezTo>
                  <a:cubicBezTo>
                    <a:pt x="68" y="106"/>
                    <a:pt x="59" y="108"/>
                    <a:pt x="54" y="107"/>
                  </a:cubicBezTo>
                  <a:cubicBezTo>
                    <a:pt x="54" y="107"/>
                    <a:pt x="23" y="90"/>
                    <a:pt x="0" y="76"/>
                  </a:cubicBezTo>
                  <a:cubicBezTo>
                    <a:pt x="2" y="77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13" y="81"/>
                    <a:pt x="28" y="68"/>
                    <a:pt x="40" y="47"/>
                  </a:cubicBezTo>
                  <a:cubicBezTo>
                    <a:pt x="51" y="27"/>
                    <a:pt x="54" y="7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8" y="0"/>
                    <a:pt x="48" y="0"/>
                  </a:cubicBezTo>
                  <a:cubicBezTo>
                    <a:pt x="48" y="0"/>
                    <a:pt x="98" y="29"/>
                    <a:pt x="99" y="29"/>
                  </a:cubicBezTo>
                  <a:cubicBezTo>
                    <a:pt x="102" y="33"/>
                    <a:pt x="105" y="42"/>
                    <a:pt x="104" y="53"/>
                  </a:cubicBezTo>
                  <a:cubicBezTo>
                    <a:pt x="106" y="53"/>
                    <a:pt x="108" y="53"/>
                    <a:pt x="109" y="54"/>
                  </a:cubicBezTo>
                  <a:cubicBezTo>
                    <a:pt x="126" y="64"/>
                    <a:pt x="126" y="64"/>
                    <a:pt x="126" y="64"/>
                  </a:cubicBezTo>
                  <a:cubicBezTo>
                    <a:pt x="136" y="69"/>
                    <a:pt x="137" y="85"/>
                    <a:pt x="129" y="9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56">
              <a:extLst>
                <a:ext uri="{FF2B5EF4-FFF2-40B4-BE49-F238E27FC236}">
                  <a16:creationId xmlns:a16="http://schemas.microsoft.com/office/drawing/2014/main" id="{651E9484-5935-45D1-8240-4172F5AF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5100" y="2447925"/>
              <a:ext cx="179388" cy="249237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15" y="122"/>
                </a:cxn>
                <a:cxn ang="0">
                  <a:pos x="21" y="50"/>
                </a:cxn>
                <a:cxn ang="0">
                  <a:pos x="80" y="8"/>
                </a:cxn>
                <a:cxn ang="0">
                  <a:pos x="74" y="80"/>
                </a:cxn>
              </a:cxnLst>
              <a:rect l="0" t="0" r="r" b="b"/>
              <a:pathLst>
                <a:path w="94" h="130">
                  <a:moveTo>
                    <a:pt x="74" y="80"/>
                  </a:moveTo>
                  <a:cubicBezTo>
                    <a:pt x="56" y="111"/>
                    <a:pt x="29" y="130"/>
                    <a:pt x="15" y="122"/>
                  </a:cubicBezTo>
                  <a:cubicBezTo>
                    <a:pt x="0" y="114"/>
                    <a:pt x="3" y="81"/>
                    <a:pt x="21" y="50"/>
                  </a:cubicBezTo>
                  <a:cubicBezTo>
                    <a:pt x="39" y="18"/>
                    <a:pt x="65" y="0"/>
                    <a:pt x="80" y="8"/>
                  </a:cubicBezTo>
                  <a:cubicBezTo>
                    <a:pt x="94" y="16"/>
                    <a:pt x="92" y="48"/>
                    <a:pt x="74" y="80"/>
                  </a:cubicBezTo>
                  <a:close/>
                </a:path>
              </a:pathLst>
            </a:custGeom>
            <a:solidFill>
              <a:srgbClr val="40404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57">
              <a:extLst>
                <a:ext uri="{FF2B5EF4-FFF2-40B4-BE49-F238E27FC236}">
                  <a16:creationId xmlns:a16="http://schemas.microsoft.com/office/drawing/2014/main" id="{C0733732-4FC1-4177-BB3F-484D2E1A8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7325" y="2486025"/>
              <a:ext cx="107950" cy="158750"/>
            </a:xfrm>
            <a:custGeom>
              <a:avLst/>
              <a:gdLst/>
              <a:ahLst/>
              <a:cxnLst>
                <a:cxn ang="0">
                  <a:pos x="21" y="37"/>
                </a:cxn>
                <a:cxn ang="0">
                  <a:pos x="56" y="8"/>
                </a:cxn>
                <a:cxn ang="0">
                  <a:pos x="53" y="6"/>
                </a:cxn>
                <a:cxn ang="0">
                  <a:pos x="14" y="34"/>
                </a:cxn>
                <a:cxn ang="0">
                  <a:pos x="10" y="82"/>
                </a:cxn>
                <a:cxn ang="0">
                  <a:pos x="14" y="83"/>
                </a:cxn>
                <a:cxn ang="0">
                  <a:pos x="21" y="37"/>
                </a:cxn>
              </a:cxnLst>
              <a:rect l="0" t="0" r="r" b="b"/>
              <a:pathLst>
                <a:path w="56" h="83">
                  <a:moveTo>
                    <a:pt x="21" y="37"/>
                  </a:moveTo>
                  <a:cubicBezTo>
                    <a:pt x="31" y="19"/>
                    <a:pt x="46" y="7"/>
                    <a:pt x="56" y="8"/>
                  </a:cubicBezTo>
                  <a:cubicBezTo>
                    <a:pt x="55" y="7"/>
                    <a:pt x="54" y="6"/>
                    <a:pt x="53" y="6"/>
                  </a:cubicBezTo>
                  <a:cubicBezTo>
                    <a:pt x="44" y="0"/>
                    <a:pt x="26" y="13"/>
                    <a:pt x="14" y="34"/>
                  </a:cubicBezTo>
                  <a:cubicBezTo>
                    <a:pt x="2" y="55"/>
                    <a:pt x="0" y="76"/>
                    <a:pt x="10" y="82"/>
                  </a:cubicBezTo>
                  <a:cubicBezTo>
                    <a:pt x="11" y="83"/>
                    <a:pt x="13" y="83"/>
                    <a:pt x="14" y="83"/>
                  </a:cubicBezTo>
                  <a:cubicBezTo>
                    <a:pt x="7" y="76"/>
                    <a:pt x="10" y="56"/>
                    <a:pt x="21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val 58">
              <a:extLst>
                <a:ext uri="{FF2B5EF4-FFF2-40B4-BE49-F238E27FC236}">
                  <a16:creationId xmlns:a16="http://schemas.microsoft.com/office/drawing/2014/main" id="{8D2FF78A-40F3-447C-9A46-A916DFD788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064" y="2921248"/>
              <a:ext cx="115887" cy="1143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59">
              <a:extLst>
                <a:ext uri="{FF2B5EF4-FFF2-40B4-BE49-F238E27FC236}">
                  <a16:creationId xmlns:a16="http://schemas.microsoft.com/office/drawing/2014/main" id="{C57F4B67-8785-47B6-87A1-80D7DD362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3056185"/>
              <a:ext cx="331789" cy="328612"/>
            </a:xfrm>
            <a:custGeom>
              <a:avLst/>
              <a:gdLst/>
              <a:ahLst/>
              <a:cxnLst>
                <a:cxn ang="0">
                  <a:pos x="174" y="158"/>
                </a:cxn>
                <a:cxn ang="0">
                  <a:pos x="166" y="170"/>
                </a:cxn>
                <a:cxn ang="0">
                  <a:pos x="153" y="158"/>
                </a:cxn>
                <a:cxn ang="0">
                  <a:pos x="126" y="21"/>
                </a:cxn>
                <a:cxn ang="0">
                  <a:pos x="96" y="21"/>
                </a:cxn>
                <a:cxn ang="0">
                  <a:pos x="96" y="157"/>
                </a:cxn>
                <a:cxn ang="0">
                  <a:pos x="86" y="172"/>
                </a:cxn>
                <a:cxn ang="0">
                  <a:pos x="75" y="157"/>
                </a:cxn>
                <a:cxn ang="0">
                  <a:pos x="75" y="21"/>
                </a:cxn>
                <a:cxn ang="0">
                  <a:pos x="48" y="21"/>
                </a:cxn>
                <a:cxn ang="0">
                  <a:pos x="21" y="158"/>
                </a:cxn>
                <a:cxn ang="0">
                  <a:pos x="8" y="170"/>
                </a:cxn>
                <a:cxn ang="0">
                  <a:pos x="0" y="158"/>
                </a:cxn>
                <a:cxn ang="0">
                  <a:pos x="1" y="154"/>
                </a:cxn>
                <a:cxn ang="0">
                  <a:pos x="28" y="18"/>
                </a:cxn>
                <a:cxn ang="0">
                  <a:pos x="25" y="11"/>
                </a:cxn>
                <a:cxn ang="0">
                  <a:pos x="36" y="0"/>
                </a:cxn>
                <a:cxn ang="0">
                  <a:pos x="136" y="0"/>
                </a:cxn>
                <a:cxn ang="0">
                  <a:pos x="146" y="11"/>
                </a:cxn>
                <a:cxn ang="0">
                  <a:pos x="146" y="15"/>
                </a:cxn>
                <a:cxn ang="0">
                  <a:pos x="146" y="16"/>
                </a:cxn>
                <a:cxn ang="0">
                  <a:pos x="174" y="154"/>
                </a:cxn>
                <a:cxn ang="0">
                  <a:pos x="174" y="158"/>
                </a:cxn>
              </a:cxnLst>
              <a:rect l="0" t="0" r="r" b="b"/>
              <a:pathLst>
                <a:path w="174" h="172">
                  <a:moveTo>
                    <a:pt x="174" y="158"/>
                  </a:moveTo>
                  <a:cubicBezTo>
                    <a:pt x="174" y="164"/>
                    <a:pt x="171" y="169"/>
                    <a:pt x="166" y="170"/>
                  </a:cubicBezTo>
                  <a:cubicBezTo>
                    <a:pt x="161" y="172"/>
                    <a:pt x="155" y="166"/>
                    <a:pt x="153" y="158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6" y="165"/>
                    <a:pt x="92" y="172"/>
                    <a:pt x="86" y="172"/>
                  </a:cubicBezTo>
                  <a:cubicBezTo>
                    <a:pt x="80" y="172"/>
                    <a:pt x="75" y="166"/>
                    <a:pt x="75" y="157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1" y="158"/>
                    <a:pt x="21" y="158"/>
                    <a:pt x="21" y="158"/>
                  </a:cubicBezTo>
                  <a:cubicBezTo>
                    <a:pt x="19" y="166"/>
                    <a:pt x="13" y="172"/>
                    <a:pt x="8" y="170"/>
                  </a:cubicBezTo>
                  <a:cubicBezTo>
                    <a:pt x="3" y="169"/>
                    <a:pt x="0" y="164"/>
                    <a:pt x="0" y="158"/>
                  </a:cubicBezTo>
                  <a:cubicBezTo>
                    <a:pt x="0" y="157"/>
                    <a:pt x="0" y="155"/>
                    <a:pt x="1" y="154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6" y="16"/>
                    <a:pt x="25" y="13"/>
                    <a:pt x="25" y="11"/>
                  </a:cubicBezTo>
                  <a:cubicBezTo>
                    <a:pt x="25" y="5"/>
                    <a:pt x="30" y="0"/>
                    <a:pt x="3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2" y="0"/>
                    <a:pt x="146" y="5"/>
                    <a:pt x="146" y="11"/>
                  </a:cubicBezTo>
                  <a:cubicBezTo>
                    <a:pt x="146" y="12"/>
                    <a:pt x="146" y="13"/>
                    <a:pt x="146" y="15"/>
                  </a:cubicBezTo>
                  <a:cubicBezTo>
                    <a:pt x="146" y="15"/>
                    <a:pt x="146" y="16"/>
                    <a:pt x="146" y="16"/>
                  </a:cubicBezTo>
                  <a:cubicBezTo>
                    <a:pt x="174" y="154"/>
                    <a:pt x="174" y="154"/>
                    <a:pt x="174" y="154"/>
                  </a:cubicBezTo>
                  <a:cubicBezTo>
                    <a:pt x="174" y="155"/>
                    <a:pt x="174" y="157"/>
                    <a:pt x="174" y="1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3" name="Přímá spojnice se šipkou 42">
            <a:extLst>
              <a:ext uri="{FF2B5EF4-FFF2-40B4-BE49-F238E27FC236}">
                <a16:creationId xmlns:a16="http://schemas.microsoft.com/office/drawing/2014/main" id="{12C59846-560E-48CB-93CB-3576BB9408F9}"/>
              </a:ext>
            </a:extLst>
          </p:cNvPr>
          <p:cNvCxnSpPr>
            <a:cxnSpLocks/>
          </p:cNvCxnSpPr>
          <p:nvPr/>
        </p:nvCxnSpPr>
        <p:spPr>
          <a:xfrm flipH="1" flipV="1">
            <a:off x="838200" y="3359628"/>
            <a:ext cx="10628508" cy="10638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4" name="Přímá spojnice se šipkou 43">
            <a:extLst>
              <a:ext uri="{FF2B5EF4-FFF2-40B4-BE49-F238E27FC236}">
                <a16:creationId xmlns:a16="http://schemas.microsoft.com/office/drawing/2014/main" id="{795B4F70-1768-4B50-9192-395AA0740F28}"/>
              </a:ext>
            </a:extLst>
          </p:cNvPr>
          <p:cNvCxnSpPr>
            <a:cxnSpLocks/>
          </p:cNvCxnSpPr>
          <p:nvPr/>
        </p:nvCxnSpPr>
        <p:spPr>
          <a:xfrm flipH="1">
            <a:off x="838200" y="2300953"/>
            <a:ext cx="10628508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45" name="Přímá spojnice se šipkou 44">
            <a:extLst>
              <a:ext uri="{FF2B5EF4-FFF2-40B4-BE49-F238E27FC236}">
                <a16:creationId xmlns:a16="http://schemas.microsoft.com/office/drawing/2014/main" id="{B037A7B2-A824-4894-932A-5449B21F5E4C}"/>
              </a:ext>
            </a:extLst>
          </p:cNvPr>
          <p:cNvCxnSpPr>
            <a:cxnSpLocks/>
          </p:cNvCxnSpPr>
          <p:nvPr/>
        </p:nvCxnSpPr>
        <p:spPr>
          <a:xfrm flipH="1">
            <a:off x="838200" y="4462312"/>
            <a:ext cx="10561833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4197184E-C9EF-0C99-C8A3-94384D928844}"/>
              </a:ext>
            </a:extLst>
          </p:cNvPr>
          <p:cNvCxnSpPr>
            <a:cxnSpLocks/>
          </p:cNvCxnSpPr>
          <p:nvPr/>
        </p:nvCxnSpPr>
        <p:spPr>
          <a:xfrm flipH="1">
            <a:off x="838200" y="5579446"/>
            <a:ext cx="10561833" cy="0"/>
          </a:xfrm>
          <a:prstGeom prst="straightConnector1">
            <a:avLst/>
          </a:prstGeom>
          <a:noFill/>
          <a:ln w="28575" cap="rnd" cmpd="sng" algn="ctr">
            <a:solidFill>
              <a:srgbClr val="FFFFFF"/>
            </a:solidFill>
            <a:prstDash val="sysDot"/>
            <a:tailEnd type="none" w="med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393331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1587679"/>
          </a:xfrm>
        </p:spPr>
        <p:txBody>
          <a:bodyPr/>
          <a:lstStyle/>
          <a:p>
            <a:r>
              <a:rPr lang="cs-CZ" dirty="0"/>
              <a:t>Shrnutí výsledků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744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HLAVNÍ ZÁVĚRY 1/2  Z 2/2023  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1" y="1444843"/>
            <a:ext cx="9884937" cy="4831541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>
                <a:solidFill>
                  <a:schemeClr val="accent3"/>
                </a:solidFill>
              </a:rPr>
              <a:t>2/3 </a:t>
            </a:r>
            <a:r>
              <a:rPr lang="cs-CZ" sz="1800" b="1" dirty="0"/>
              <a:t>podniků spontánně </a:t>
            </a:r>
            <a:r>
              <a:rPr lang="cs-CZ" sz="1800" b="1" dirty="0">
                <a:solidFill>
                  <a:schemeClr val="accent3"/>
                </a:solidFill>
              </a:rPr>
              <a:t>neví</a:t>
            </a:r>
            <a:r>
              <a:rPr lang="cs-CZ" sz="1800" b="1" dirty="0"/>
              <a:t>, co si pod pojmem </a:t>
            </a:r>
            <a:r>
              <a:rPr lang="cs-CZ" sz="1800" b="1" dirty="0">
                <a:solidFill>
                  <a:schemeClr val="accent3"/>
                </a:solidFill>
              </a:rPr>
              <a:t>ESG</a:t>
            </a:r>
            <a:r>
              <a:rPr lang="cs-CZ" sz="1800" b="1" dirty="0"/>
              <a:t> </a:t>
            </a:r>
            <a:r>
              <a:rPr lang="cs-CZ" sz="1800" b="1" dirty="0">
                <a:solidFill>
                  <a:schemeClr val="accent3"/>
                </a:solidFill>
              </a:rPr>
              <a:t>představit</a:t>
            </a:r>
            <a:r>
              <a:rPr lang="cs-CZ" sz="1800" b="1" dirty="0"/>
              <a:t>. 1 z 10 si představí udržitelnost a vliv na životní prostředí.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/>
              <a:t>Když se ovšem podpořeně zeptáme na ESG, tak z výzkumu vyplývá, že </a:t>
            </a:r>
            <a:r>
              <a:rPr lang="cs-CZ" sz="1800" b="1" dirty="0">
                <a:solidFill>
                  <a:schemeClr val="accent3"/>
                </a:solidFill>
              </a:rPr>
              <a:t>7 z 10 firem se </a:t>
            </a:r>
            <a:br>
              <a:rPr lang="cs-CZ" sz="1800" b="1" dirty="0">
                <a:solidFill>
                  <a:schemeClr val="accent3"/>
                </a:solidFill>
              </a:rPr>
            </a:br>
            <a:r>
              <a:rPr lang="cs-CZ" sz="1800" b="1" dirty="0">
                <a:solidFill>
                  <a:schemeClr val="accent3"/>
                </a:solidFill>
              </a:rPr>
              <a:t>o ESG ve skutečnosti zajímá</a:t>
            </a:r>
            <a:r>
              <a:rPr lang="cs-CZ" sz="1800" b="1" dirty="0"/>
              <a:t>. Nejčastěji se zaměřují na </a:t>
            </a:r>
            <a:r>
              <a:rPr lang="cs-CZ" sz="1800" b="1" dirty="0">
                <a:solidFill>
                  <a:srgbClr val="E87722"/>
                </a:solidFill>
              </a:rPr>
              <a:t>sociální oblast</a:t>
            </a:r>
            <a:r>
              <a:rPr lang="cs-CZ" sz="1800" b="1" dirty="0"/>
              <a:t>. 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/>
              <a:t>Z ESG témat se firmy </a:t>
            </a:r>
            <a:r>
              <a:rPr lang="cs-CZ" sz="1800" b="1" dirty="0">
                <a:solidFill>
                  <a:schemeClr val="accent3"/>
                </a:solidFill>
              </a:rPr>
              <a:t>nejčastěji</a:t>
            </a:r>
            <a:r>
              <a:rPr lang="cs-CZ" sz="1800" b="1" dirty="0"/>
              <a:t> zaměřují na </a:t>
            </a:r>
            <a:r>
              <a:rPr lang="cs-CZ" sz="1800" b="1" dirty="0">
                <a:solidFill>
                  <a:schemeClr val="accent3"/>
                </a:solidFill>
              </a:rPr>
              <a:t>zdraví a bezpečnost </a:t>
            </a:r>
            <a:r>
              <a:rPr lang="cs-CZ" sz="1800" b="1" dirty="0"/>
              <a:t>společně s </a:t>
            </a:r>
            <a:r>
              <a:rPr lang="cs-CZ" sz="1800" b="1" dirty="0">
                <a:solidFill>
                  <a:schemeClr val="accent3"/>
                </a:solidFill>
              </a:rPr>
              <a:t>dobrými pracovními podmínkami a odmítáním diskriminace</a:t>
            </a:r>
            <a:r>
              <a:rPr lang="cs-CZ" sz="1800" b="1" dirty="0"/>
              <a:t>, jde přibližně o polovinu podniků.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>
                <a:solidFill>
                  <a:schemeClr val="accent3"/>
                </a:solidFill>
              </a:rPr>
              <a:t>3/4 </a:t>
            </a:r>
            <a:r>
              <a:rPr lang="cs-CZ" sz="1800" b="1" dirty="0"/>
              <a:t> podniků plánují </a:t>
            </a:r>
            <a:r>
              <a:rPr lang="cs-CZ" sz="1800" b="1" dirty="0">
                <a:solidFill>
                  <a:schemeClr val="accent3"/>
                </a:solidFill>
              </a:rPr>
              <a:t>nejdéle v rámci 3 let vytvořit plán</a:t>
            </a:r>
            <a:r>
              <a:rPr lang="cs-CZ" sz="1800" b="1" dirty="0"/>
              <a:t> či strategii pro přijímání </a:t>
            </a:r>
            <a:r>
              <a:rPr lang="cs-CZ" sz="1800" b="1" dirty="0">
                <a:solidFill>
                  <a:schemeClr val="accent3"/>
                </a:solidFill>
              </a:rPr>
              <a:t>ESG</a:t>
            </a:r>
            <a:r>
              <a:rPr lang="cs-CZ" sz="1800" b="1" dirty="0"/>
              <a:t>.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>
                <a:solidFill>
                  <a:schemeClr val="accent3"/>
                </a:solidFill>
              </a:rPr>
              <a:t>Největší překážkou </a:t>
            </a:r>
            <a:r>
              <a:rPr lang="cs-CZ" sz="1800" b="1" dirty="0"/>
              <a:t>v rámci implementace </a:t>
            </a:r>
            <a:r>
              <a:rPr lang="cs-CZ" sz="1800" b="1" dirty="0">
                <a:solidFill>
                  <a:schemeClr val="accent3"/>
                </a:solidFill>
              </a:rPr>
              <a:t>ESG</a:t>
            </a:r>
            <a:r>
              <a:rPr lang="cs-CZ" sz="1800" b="1" dirty="0"/>
              <a:t> je </a:t>
            </a:r>
            <a:r>
              <a:rPr lang="cs-CZ" sz="1800" b="1" dirty="0">
                <a:solidFill>
                  <a:schemeClr val="accent3"/>
                </a:solidFill>
              </a:rPr>
              <a:t>nejasná návratnost investice</a:t>
            </a:r>
            <a:r>
              <a:rPr lang="cs-CZ" sz="1800" b="1" dirty="0"/>
              <a:t>, což udává polovina firem, dále také nedostatek financí a nedostatek informací. </a:t>
            </a:r>
          </a:p>
          <a:p>
            <a:pPr marL="0" indent="0" fontAlgn="ctr">
              <a:buNone/>
            </a:pPr>
            <a:endParaRPr lang="cs-CZ" sz="1900" b="1" dirty="0"/>
          </a:p>
          <a:p>
            <a:pPr marL="0" indent="0" fontAlgn="ctr">
              <a:buNone/>
            </a:pPr>
            <a:endParaRPr lang="cs-CZ" sz="1900" b="1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6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pic>
        <p:nvPicPr>
          <p:cNvPr id="8" name="Grafický objekt 7" descr="Otevřená ruka s rostlinou obrys">
            <a:extLst>
              <a:ext uri="{FF2B5EF4-FFF2-40B4-BE49-F238E27FC236}">
                <a16:creationId xmlns:a16="http://schemas.microsoft.com/office/drawing/2014/main" id="{86A35AD8-AFE9-65F8-3CF2-2BE292D41D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3709" y="1181836"/>
            <a:ext cx="828000" cy="828000"/>
          </a:xfrm>
          <a:prstGeom prst="rect">
            <a:avLst/>
          </a:prstGeom>
        </p:spPr>
      </p:pic>
      <p:pic>
        <p:nvPicPr>
          <p:cNvPr id="11" name="Grafický objekt 10" descr="Zdravotní se souvislou výplní">
            <a:extLst>
              <a:ext uri="{FF2B5EF4-FFF2-40B4-BE49-F238E27FC236}">
                <a16:creationId xmlns:a16="http://schemas.microsoft.com/office/drawing/2014/main" id="{4E2E105F-5996-A1D8-9666-5BD428E066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3709" y="3460630"/>
            <a:ext cx="828000" cy="828000"/>
          </a:xfrm>
          <a:prstGeom prst="rect">
            <a:avLst/>
          </a:prstGeom>
        </p:spPr>
      </p:pic>
      <p:pic>
        <p:nvPicPr>
          <p:cNvPr id="14" name="Grafický objekt 13" descr="Podrobný plán se souvislou výplní">
            <a:extLst>
              <a:ext uri="{FF2B5EF4-FFF2-40B4-BE49-F238E27FC236}">
                <a16:creationId xmlns:a16="http://schemas.microsoft.com/office/drawing/2014/main" id="{9997DA9F-6A4C-EC59-4C88-7AEE2D8ACE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3709" y="4427453"/>
            <a:ext cx="828000" cy="828000"/>
          </a:xfrm>
          <a:prstGeom prst="rect">
            <a:avLst/>
          </a:prstGeom>
        </p:spPr>
      </p:pic>
      <p:pic>
        <p:nvPicPr>
          <p:cNvPr id="18" name="Grafický objekt 17" descr="Peníze poletující vzduchem se souvislou výplní">
            <a:extLst>
              <a:ext uri="{FF2B5EF4-FFF2-40B4-BE49-F238E27FC236}">
                <a16:creationId xmlns:a16="http://schemas.microsoft.com/office/drawing/2014/main" id="{7FBEE9FB-3C90-96AD-3425-096F319896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3709" y="5394276"/>
            <a:ext cx="828000" cy="828000"/>
          </a:xfrm>
          <a:prstGeom prst="rect">
            <a:avLst/>
          </a:prstGeom>
        </p:spPr>
      </p:pic>
      <p:pic>
        <p:nvPicPr>
          <p:cNvPr id="5" name="Grafický objekt 4" descr="Žárovka a ozubené kolečko se souvislou výplní">
            <a:extLst>
              <a:ext uri="{FF2B5EF4-FFF2-40B4-BE49-F238E27FC236}">
                <a16:creationId xmlns:a16="http://schemas.microsoft.com/office/drawing/2014/main" id="{281EAE72-D699-7E32-944D-56CF1F12D7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709" y="227390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514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260B017D-63F7-46BD-951E-A5F86CC0D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469900"/>
            <a:ext cx="11382428" cy="480131"/>
          </a:xfrm>
        </p:spPr>
        <p:txBody>
          <a:bodyPr/>
          <a:lstStyle/>
          <a:p>
            <a:r>
              <a:rPr lang="cs-CZ" dirty="0"/>
              <a:t>HLAVNÍ ZÁVĚRY 2/2 Z 2/2023 </a:t>
            </a:r>
          </a:p>
        </p:txBody>
      </p:sp>
      <p:sp>
        <p:nvSpPr>
          <p:cNvPr id="12" name="Zástupný symbol pro obsah 3">
            <a:extLst>
              <a:ext uri="{FF2B5EF4-FFF2-40B4-BE49-F238E27FC236}">
                <a16:creationId xmlns:a16="http://schemas.microsoft.com/office/drawing/2014/main" id="{F1544787-BDF3-42ED-AAB5-4E20D782C97B}"/>
              </a:ext>
            </a:extLst>
          </p:cNvPr>
          <p:cNvSpPr txBox="1">
            <a:spLocks/>
          </p:cNvSpPr>
          <p:nvPr/>
        </p:nvSpPr>
        <p:spPr>
          <a:xfrm>
            <a:off x="1591201" y="1444843"/>
            <a:ext cx="9884937" cy="4831541"/>
          </a:xfrm>
          <a:prstGeom prst="rect">
            <a:avLst/>
          </a:prstGeom>
        </p:spPr>
        <p:txBody>
          <a:bodyPr lIns="0" tIns="0" rIns="0" bIns="0"/>
          <a:lstStyle>
            <a:lvl1pPr marL="380990" indent="-380990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21749" indent="-268804" algn="l" defTabSz="12191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202207" indent="-239173" algn="l" defTabSz="1219140" rtl="0" eaLnBrk="1" latinLnBrk="0" hangingPunct="1">
              <a:spcBef>
                <a:spcPct val="20000"/>
              </a:spcBef>
              <a:buSzPct val="80000"/>
              <a:buFont typeface="Courier New" panose="02070309020205020404" pitchFamily="49" charset="0"/>
              <a:buChar char="o"/>
              <a:defRPr sz="1867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67850" indent="-239173" algn="l" defTabSz="1219140" rtl="0" eaLnBrk="1" latinLnBrk="0" hangingPunct="1">
              <a:spcBef>
                <a:spcPct val="20000"/>
              </a:spcBef>
              <a:buSzPct val="90000"/>
              <a:buFont typeface="Arial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74306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  <a:lvl6pPr marL="335263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/>
              <a:t>Více než </a:t>
            </a:r>
            <a:r>
              <a:rPr lang="cs-CZ" sz="1800" b="1" dirty="0">
                <a:solidFill>
                  <a:srgbClr val="E87722"/>
                </a:solidFill>
              </a:rPr>
              <a:t>polovina</a:t>
            </a:r>
            <a:r>
              <a:rPr lang="cs-CZ" sz="1800" b="1" dirty="0"/>
              <a:t> firem se s </a:t>
            </a:r>
            <a:r>
              <a:rPr lang="cs-CZ" sz="1800" b="1" dirty="0">
                <a:solidFill>
                  <a:srgbClr val="E87722"/>
                </a:solidFill>
              </a:rPr>
              <a:t>požadavkem</a:t>
            </a:r>
            <a:r>
              <a:rPr lang="cs-CZ" sz="1800" b="1" dirty="0"/>
              <a:t> na plnění cílů </a:t>
            </a:r>
            <a:r>
              <a:rPr lang="cs-CZ" sz="1800" b="1" dirty="0">
                <a:solidFill>
                  <a:srgbClr val="E87722"/>
                </a:solidFill>
              </a:rPr>
              <a:t>ESG</a:t>
            </a:r>
            <a:r>
              <a:rPr lang="cs-CZ" sz="1800" b="1" dirty="0"/>
              <a:t> </a:t>
            </a:r>
            <a:r>
              <a:rPr lang="cs-CZ" sz="1800" b="1" dirty="0">
                <a:solidFill>
                  <a:srgbClr val="E87722"/>
                </a:solidFill>
              </a:rPr>
              <a:t>nesetkala</a:t>
            </a:r>
            <a:r>
              <a:rPr lang="cs-CZ" sz="1800" b="1" dirty="0"/>
              <a:t>. Pokud se firmy s tímto požadavkem setkaly, tak šlo převážně o požadavky klientů či obchodních partnerů. 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>
                <a:solidFill>
                  <a:srgbClr val="E87722"/>
                </a:solidFill>
              </a:rPr>
              <a:t>Polovina</a:t>
            </a:r>
            <a:r>
              <a:rPr lang="cs-CZ" sz="1800" b="1" dirty="0"/>
              <a:t> firem buď </a:t>
            </a:r>
            <a:r>
              <a:rPr lang="cs-CZ" sz="1800" b="1" dirty="0">
                <a:solidFill>
                  <a:srgbClr val="E87722"/>
                </a:solidFill>
              </a:rPr>
              <a:t>poradce</a:t>
            </a:r>
            <a:r>
              <a:rPr lang="cs-CZ" sz="1800" b="1" dirty="0"/>
              <a:t> v rámci ESG </a:t>
            </a:r>
            <a:r>
              <a:rPr lang="cs-CZ" sz="1800" b="1" dirty="0">
                <a:solidFill>
                  <a:srgbClr val="E87722"/>
                </a:solidFill>
              </a:rPr>
              <a:t>využila</a:t>
            </a:r>
            <a:r>
              <a:rPr lang="cs-CZ" sz="1800" b="1" dirty="0"/>
              <a:t>, nebo to </a:t>
            </a:r>
            <a:r>
              <a:rPr lang="cs-CZ" sz="1800" b="1" dirty="0">
                <a:solidFill>
                  <a:srgbClr val="E87722"/>
                </a:solidFill>
              </a:rPr>
              <a:t>plánuje</a:t>
            </a:r>
            <a:r>
              <a:rPr lang="cs-CZ" sz="1800" b="1" dirty="0"/>
              <a:t>. Téměř 4 z 10 firem se rozhodnou až dle náročnosti agendy.  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>
                <a:solidFill>
                  <a:srgbClr val="E87722"/>
                </a:solidFill>
              </a:rPr>
              <a:t>3/4</a:t>
            </a:r>
            <a:r>
              <a:rPr lang="cs-CZ" sz="1800" b="1" dirty="0"/>
              <a:t> firem </a:t>
            </a:r>
            <a:r>
              <a:rPr lang="cs-CZ" sz="1800" b="1" dirty="0">
                <a:solidFill>
                  <a:srgbClr val="E87722"/>
                </a:solidFill>
              </a:rPr>
              <a:t>neví</a:t>
            </a:r>
            <a:r>
              <a:rPr lang="cs-CZ" sz="1800" b="1" dirty="0"/>
              <a:t>, že od roku 2026 bude </a:t>
            </a:r>
            <a:r>
              <a:rPr lang="cs-CZ" sz="1800" b="1" dirty="0">
                <a:solidFill>
                  <a:srgbClr val="E87722"/>
                </a:solidFill>
              </a:rPr>
              <a:t>povinné</a:t>
            </a:r>
            <a:r>
              <a:rPr lang="cs-CZ" sz="1800" b="1" dirty="0"/>
              <a:t> vykazovat </a:t>
            </a:r>
            <a:r>
              <a:rPr lang="cs-CZ" sz="1800" b="1" dirty="0">
                <a:solidFill>
                  <a:srgbClr val="E87722"/>
                </a:solidFill>
              </a:rPr>
              <a:t>ESG</a:t>
            </a:r>
            <a:r>
              <a:rPr lang="cs-CZ" sz="1800" b="1" dirty="0"/>
              <a:t> </a:t>
            </a:r>
            <a:r>
              <a:rPr lang="cs-CZ" sz="1800" b="1" dirty="0">
                <a:solidFill>
                  <a:srgbClr val="E87722"/>
                </a:solidFill>
              </a:rPr>
              <a:t>report</a:t>
            </a:r>
            <a:r>
              <a:rPr lang="cs-CZ" sz="1800" b="1" dirty="0"/>
              <a:t>. Větší firmy jsou s tímto faktem obeznámeny častěji. </a:t>
            </a:r>
          </a:p>
          <a:p>
            <a:pPr marL="0" indent="0" fontAlgn="ctr">
              <a:spcAft>
                <a:spcPts val="600"/>
              </a:spcAft>
              <a:buNone/>
            </a:pPr>
            <a:endParaRPr lang="cs-CZ" sz="1800" b="1" dirty="0"/>
          </a:p>
          <a:p>
            <a:pPr marL="0" indent="0" fontAlgn="ctr">
              <a:spcAft>
                <a:spcPts val="600"/>
              </a:spcAft>
              <a:buNone/>
            </a:pPr>
            <a:r>
              <a:rPr lang="cs-CZ" sz="1800" b="1" dirty="0"/>
              <a:t>Více než </a:t>
            </a:r>
            <a:r>
              <a:rPr lang="cs-CZ" sz="1800" b="1" dirty="0">
                <a:solidFill>
                  <a:srgbClr val="E87722"/>
                </a:solidFill>
              </a:rPr>
              <a:t>6 z 10 firem</a:t>
            </a:r>
            <a:r>
              <a:rPr lang="cs-CZ" sz="1800" b="1" dirty="0"/>
              <a:t> </a:t>
            </a:r>
            <a:r>
              <a:rPr lang="cs-CZ" sz="1800" b="1" dirty="0">
                <a:solidFill>
                  <a:srgbClr val="E87722"/>
                </a:solidFill>
              </a:rPr>
              <a:t>nemají</a:t>
            </a:r>
            <a:r>
              <a:rPr lang="cs-CZ" sz="1800" b="1" dirty="0"/>
              <a:t> nastaveny </a:t>
            </a:r>
            <a:r>
              <a:rPr lang="cs-CZ" sz="1800" b="1" dirty="0">
                <a:solidFill>
                  <a:srgbClr val="E87722"/>
                </a:solidFill>
              </a:rPr>
              <a:t>cíle</a:t>
            </a:r>
            <a:r>
              <a:rPr lang="cs-CZ" sz="1800" b="1" dirty="0"/>
              <a:t> související s </a:t>
            </a:r>
            <a:r>
              <a:rPr lang="cs-CZ" sz="1800" b="1" dirty="0">
                <a:solidFill>
                  <a:srgbClr val="E87722"/>
                </a:solidFill>
              </a:rPr>
              <a:t>ESG</a:t>
            </a:r>
            <a:r>
              <a:rPr lang="cs-CZ" sz="1800" b="1" dirty="0"/>
              <a:t>. Ty, které tyto cíle mají nastaveny, mají často problémy s jejich měřením. Tyto cíle mají taky častěji nastaveny větší firmy. </a:t>
            </a:r>
            <a:endParaRPr lang="cs-CZ" sz="1900" b="1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C44E496-229D-4B64-8602-3307F4478A1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algn="ctr"/>
            <a:fld id="{D61AABEC-672F-4B68-B914-690DA978312C}" type="slidenum">
              <a:rPr lang="en-GB" smtClean="0"/>
              <a:pPr algn="ctr"/>
              <a:t>7</a:t>
            </a:fld>
            <a:r>
              <a:rPr lang="en-GB" dirty="0"/>
              <a:t>  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10E8A2A-96A3-40E3-A68A-60D09FA9E6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10056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pic>
        <p:nvPicPr>
          <p:cNvPr id="6" name="Grafický objekt 5" descr="Kancelářský pracovník samčího pohlaví se souvislou výplní">
            <a:extLst>
              <a:ext uri="{FF2B5EF4-FFF2-40B4-BE49-F238E27FC236}">
                <a16:creationId xmlns:a16="http://schemas.microsoft.com/office/drawing/2014/main" id="{0894B0C9-F2EE-2FC4-C187-EC07B26000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0509" y="2334237"/>
            <a:ext cx="914400" cy="914400"/>
          </a:xfrm>
          <a:prstGeom prst="rect">
            <a:avLst/>
          </a:prstGeom>
        </p:spPr>
      </p:pic>
      <p:pic>
        <p:nvPicPr>
          <p:cNvPr id="10" name="Grafický objekt 9" descr="Svitek obrys">
            <a:extLst>
              <a:ext uri="{FF2B5EF4-FFF2-40B4-BE49-F238E27FC236}">
                <a16:creationId xmlns:a16="http://schemas.microsoft.com/office/drawing/2014/main" id="{715C4885-3886-A164-CC38-39AD3777FC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509" y="3605888"/>
            <a:ext cx="914400" cy="914400"/>
          </a:xfrm>
          <a:prstGeom prst="rect">
            <a:avLst/>
          </a:prstGeom>
        </p:spPr>
      </p:pic>
      <p:pic>
        <p:nvPicPr>
          <p:cNvPr id="15" name="Grafický objekt 14" descr="Prezentace s kontrolním seznamem se souvislou výplní">
            <a:extLst>
              <a:ext uri="{FF2B5EF4-FFF2-40B4-BE49-F238E27FC236}">
                <a16:creationId xmlns:a16="http://schemas.microsoft.com/office/drawing/2014/main" id="{49B6CB71-FCBF-3B4E-AAAF-751202DD54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0509" y="4877540"/>
            <a:ext cx="914400" cy="914400"/>
          </a:xfrm>
          <a:prstGeom prst="rect">
            <a:avLst/>
          </a:prstGeom>
        </p:spPr>
      </p:pic>
      <p:pic>
        <p:nvPicPr>
          <p:cNvPr id="17" name="Grafický objekt 16" descr="Štít – křížek se souvislou výplní">
            <a:extLst>
              <a:ext uri="{FF2B5EF4-FFF2-40B4-BE49-F238E27FC236}">
                <a16:creationId xmlns:a16="http://schemas.microsoft.com/office/drawing/2014/main" id="{6FFED753-5F17-82C3-7636-428B8B033E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0509" y="127899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8812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>
            <a:extLst>
              <a:ext uri="{FF2B5EF4-FFF2-40B4-BE49-F238E27FC236}">
                <a16:creationId xmlns:a16="http://schemas.microsoft.com/office/drawing/2014/main" id="{BC6BEE64-6E9D-4A8A-9CAF-A5D47AEAF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37475"/>
            <a:ext cx="7551996" cy="1587679"/>
          </a:xfrm>
        </p:spPr>
        <p:txBody>
          <a:bodyPr/>
          <a:lstStyle/>
          <a:p>
            <a:r>
              <a:rPr lang="cs-CZ" dirty="0"/>
              <a:t>Výsledky </a:t>
            </a:r>
            <a:br>
              <a:rPr lang="cs-CZ" dirty="0"/>
            </a:br>
            <a:r>
              <a:rPr lang="cs-CZ" dirty="0"/>
              <a:t>v detail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7357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ulka 32">
            <a:extLst>
              <a:ext uri="{FF2B5EF4-FFF2-40B4-BE49-F238E27FC236}">
                <a16:creationId xmlns:a16="http://schemas.microsoft.com/office/drawing/2014/main" id="{09B85484-BE32-43A2-A48F-179C530705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382679"/>
              </p:ext>
            </p:extLst>
          </p:nvPr>
        </p:nvGraphicFramePr>
        <p:xfrm>
          <a:off x="540682" y="1755843"/>
          <a:ext cx="8679518" cy="40577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69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49229">
                  <a:extLst>
                    <a:ext uri="{9D8B030D-6E8A-4147-A177-3AD203B41FA5}">
                      <a16:colId xmlns:a16="http://schemas.microsoft.com/office/drawing/2014/main" val="3805104068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96819767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393150660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6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11914"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800" b="1" i="0" u="none" strike="noStrike" kern="1200" noProof="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4 až 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rma s 50 až 249 zaměstnanci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ýroba, průmysl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bchod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9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lužby</a:t>
                      </a:r>
                      <a:endParaRPr lang="en-US" sz="900" b="1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držitelnos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liv firem na životní prostředí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olečenská zodpovědnost fir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307022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ergie a jejich úspor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dpovědnost fire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vironmental, social, governance</a:t>
                      </a:r>
                    </a:p>
                    <a:p>
                      <a:pPr algn="r" fontAlgn="b"/>
                      <a:r>
                        <a:rPr lang="cs-CZ" sz="9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Zmíněny všechny 3 složky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dpovědnost v sociální oblast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ěco jiného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0281680"/>
                  </a:ext>
                </a:extLst>
              </a:tr>
              <a:tr h="393979"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ví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800" b="0" i="0" u="none" strike="noStrike" kern="1200" dirty="0">
                        <a:solidFill>
                          <a:srgbClr val="40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5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78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34" name="Content Placeholder 4">
            <a:extLst>
              <a:ext uri="{FF2B5EF4-FFF2-40B4-BE49-F238E27FC236}">
                <a16:creationId xmlns:a16="http://schemas.microsoft.com/office/drawing/2014/main" id="{B19E5B8D-012E-4E48-A939-7041A2D134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4499797"/>
              </p:ext>
            </p:extLst>
          </p:nvPr>
        </p:nvGraphicFramePr>
        <p:xfrm>
          <a:off x="3377104" y="1765177"/>
          <a:ext cx="2193186" cy="4057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Nadpis 12">
            <a:extLst>
              <a:ext uri="{FF2B5EF4-FFF2-40B4-BE49-F238E27FC236}">
                <a16:creationId xmlns:a16="http://schemas.microsoft.com/office/drawing/2014/main" id="{0BEF0682-FB01-4B0B-8F68-75599C162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8" y="403225"/>
            <a:ext cx="10537682" cy="1006429"/>
          </a:xfrm>
        </p:spPr>
        <p:txBody>
          <a:bodyPr/>
          <a:lstStyle/>
          <a:p>
            <a:r>
              <a:rPr lang="cs-CZ" sz="2200" dirty="0"/>
              <a:t>Část firem si pod pojmem ESG PŘEDSTAVUJe UDRŽITELNOST A VLIV </a:t>
            </a:r>
            <a:br>
              <a:rPr lang="cs-CZ" sz="2200" dirty="0"/>
            </a:br>
            <a:r>
              <a:rPr lang="cs-CZ" sz="2200" dirty="0"/>
              <a:t>FIREM NA ŽIVOTNÍ PROSTŘEDÍ. DVĚ TŘETINY podniků NEVÍ, CO SI PŘEDSTAVIT.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5EA377B0-8C7E-4161-B3B2-8AF9234895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577672" y="6276384"/>
            <a:ext cx="360037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05A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 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DB85C70-8781-4E98-82F6-5929C5DF1387}"/>
              </a:ext>
            </a:extLst>
          </p:cNvPr>
          <p:cNvSpPr txBox="1"/>
          <p:nvPr/>
        </p:nvSpPr>
        <p:spPr>
          <a:xfrm>
            <a:off x="572398" y="1296100"/>
            <a:ext cx="8271053" cy="1887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o si firmy představují pod pojmem „ESG“ (v %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5D15F07E-BC52-4852-8BB0-88508E3F9776}"/>
              </a:ext>
            </a:extLst>
          </p:cNvPr>
          <p:cNvSpPr/>
          <p:nvPr/>
        </p:nvSpPr>
        <p:spPr>
          <a:xfrm>
            <a:off x="485774" y="5914201"/>
            <a:ext cx="10387965" cy="438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55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0open. Co si představíte pod pojmem ESG?</a:t>
            </a:r>
            <a:b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=255/148/107/94/64/97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 descr="http://www.aspectio.cz/Files/logoAMSP.jpg">
            <a:extLst>
              <a:ext uri="{FF2B5EF4-FFF2-40B4-BE49-F238E27FC236}">
                <a16:creationId xmlns:a16="http://schemas.microsoft.com/office/drawing/2014/main" id="{7E736A1A-8CF7-4234-B617-AC791CB883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127676" y="149915"/>
            <a:ext cx="659536" cy="703061"/>
          </a:xfrm>
          <a:prstGeom prst="rect">
            <a:avLst/>
          </a:prstGeom>
          <a:noFill/>
        </p:spPr>
      </p:pic>
      <p:sp>
        <p:nvSpPr>
          <p:cNvPr id="7" name="Zástupný symbol pro zápatí 2">
            <a:extLst>
              <a:ext uri="{FF2B5EF4-FFF2-40B4-BE49-F238E27FC236}">
                <a16:creationId xmlns:a16="http://schemas.microsoft.com/office/drawing/2014/main" id="{E13D1C38-C42C-BC9B-4160-DBC9F63772D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10055" y="6276384"/>
            <a:ext cx="920683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© Ipsos pro AMSP | </a:t>
            </a:r>
            <a:r>
              <a:rPr lang="cs-CZ" dirty="0">
                <a:latin typeface="Arial"/>
              </a:rPr>
              <a:t>Udržitelnost a ESG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| 02/2023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38943BB6-270F-F89B-FBB3-0E9EB19732FA}"/>
              </a:ext>
            </a:extLst>
          </p:cNvPr>
          <p:cNvSpPr/>
          <p:nvPr/>
        </p:nvSpPr>
        <p:spPr>
          <a:xfrm>
            <a:off x="1426128" y="2281806"/>
            <a:ext cx="3833769" cy="770571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EDDF0E3-037F-0132-C964-55C99485E690}"/>
              </a:ext>
            </a:extLst>
          </p:cNvPr>
          <p:cNvSpPr/>
          <p:nvPr/>
        </p:nvSpPr>
        <p:spPr>
          <a:xfrm>
            <a:off x="2910980" y="5414962"/>
            <a:ext cx="2348084" cy="398605"/>
          </a:xfrm>
          <a:prstGeom prst="rect">
            <a:avLst/>
          </a:prstGeom>
          <a:noFill/>
          <a:ln>
            <a:solidFill>
              <a:srgbClr val="28105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995529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IPSOS - Classical Template - 16x9">
  <a:themeElements>
    <a:clrScheme name="Personnalisé 181">
      <a:dk1>
        <a:sysClr val="windowText" lastClr="000000"/>
      </a:dk1>
      <a:lt1>
        <a:sysClr val="window" lastClr="FFFFFF"/>
      </a:lt1>
      <a:dk2>
        <a:srgbClr val="009D9C"/>
      </a:dk2>
      <a:lt2>
        <a:srgbClr val="405A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86</TotalTime>
  <Words>5560</Words>
  <Application>Microsoft Office PowerPoint</Application>
  <PresentationFormat>Širokoúhlá obrazovka</PresentationFormat>
  <Paragraphs>1005</Paragraphs>
  <Slides>36</Slides>
  <Notes>25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6</vt:i4>
      </vt:variant>
    </vt:vector>
  </HeadingPairs>
  <TitlesOfParts>
    <vt:vector size="46" baseType="lpstr">
      <vt:lpstr>Arial</vt:lpstr>
      <vt:lpstr>Arial Black</vt:lpstr>
      <vt:lpstr>Calibri</vt:lpstr>
      <vt:lpstr>HelveticaNeueLT Std Lt Cn</vt:lpstr>
      <vt:lpstr>Roboto</vt:lpstr>
      <vt:lpstr>Wingdings</vt:lpstr>
      <vt:lpstr>IPSOS - Classical Template - 16x9</vt:lpstr>
      <vt:lpstr>1_IPSOS - Classical Template - 16x9</vt:lpstr>
      <vt:lpstr>4_IPSOS - Classical Template - 16x9</vt:lpstr>
      <vt:lpstr>Diapositive think-cell</vt:lpstr>
      <vt:lpstr>Udržitelnost podnikání a esg</vt:lpstr>
      <vt:lpstr>Výzkumné pozadí </vt:lpstr>
      <vt:lpstr>PRŮZKUMY UKAZUJÍ VÝVOJ </vt:lpstr>
      <vt:lpstr>metodika</vt:lpstr>
      <vt:lpstr>Shrnutí výsledků</vt:lpstr>
      <vt:lpstr>HLAVNÍ ZÁVĚRY 1/2  Z 2/2023  </vt:lpstr>
      <vt:lpstr>HLAVNÍ ZÁVĚRY 2/2 Z 2/2023 </vt:lpstr>
      <vt:lpstr>Výsledky  v detailu</vt:lpstr>
      <vt:lpstr>Část firem si pod pojmem ESG PŘEDSTAVUJe UDRŽITELNOST A VLIV  FIREM NA ŽIVOTNÍ PROSTŘEDÍ. DVĚ TŘETINY podniků NEVÍ, CO SI PŘEDSTAVIT.</vt:lpstr>
      <vt:lpstr>Prezentace aplikace PowerPoint</vt:lpstr>
      <vt:lpstr>V RÁMCI UDRŽITELNOSTI SE FIRMY ZAMĚŘUJÍ NEJVÍCE NA SOCIÁLNÍ OBLAST. Menší firmy častěji nic nepodnikají.</vt:lpstr>
      <vt:lpstr>Firmy se nejčastěji zaměřují na ZDRAVÍ A BEZPEČNOST SPOLEČNĚ  S DOBRÝMI PRACOVNÍMI PODMÍNKAMI A ODMÍTÁNÍM DISKRIMINACE.</vt:lpstr>
      <vt:lpstr>Téměř 60 % firem se alespoň částečně zabývá ESG. Větší firmy se jím zabývají častěji. </vt:lpstr>
      <vt:lpstr>VÍCE NEŽ POLOVINA FIREM SE S POŽADAVKEM na plnění cílů esg NESETKALA. NEJČASTĚJI POŽADUJÍ PLNĚNÍ KLIENTI ČI OBCHODNÍ PARTNEŘI. </vt:lpstr>
      <vt:lpstr>TÉMĚŘ Tři čtvrtiny FIREM PLÁNUJÍ NEJDÉLE V RÁMCI 3 LET VYTVOŘIT PLÁN ČI STRATEGII PRO PŘIJÍMÁNÍ ESG.</vt:lpstr>
      <vt:lpstr>POLOVINA FIREM BUĎ PORADCE V OBLASTI ESG VYUŽILA, NEBO TO PLÁNUJE. TÉMĚŘ 4 Z 10 FIREM se rozhodnou až dle náročnosti agendy.</vt:lpstr>
      <vt:lpstr>DVĚ TŘETINY FIREM BY UVÍTALY POMOC PARTNERA S TÉMATEM ESG. PODSTATNĚ ČASTĚJI BY TÉTO SLUŽBY VYUŽILY VĚTŠÍ FIRMY.</vt:lpstr>
      <vt:lpstr>Většina firem neplánuje investovat do oblasti esg. Větší firmy plánují do této oblasti investovat podstatně častěji.</vt:lpstr>
      <vt:lpstr>Firmy nemají zcela jasno, do čeho investovat. nejčastěji se chtějí zaměřit na sledování spotřeby energií a ekologickou oblast. </vt:lpstr>
      <vt:lpstr>Většina Firem, KTERÉ V následujícím roce PLÁNUJÍ INVESTOVAT DO ESG, chce využít dotace. nejčastěji počítají s investicí 100 001 – 250 000 kč.</vt:lpstr>
      <vt:lpstr>Největšími překážkami při implementaci esg jsou nejasná návratnost investice, nedostatek financí a nedostatek informací.</vt:lpstr>
      <vt:lpstr>Více než dvě třetiny firem se domnívají, že buď jsou v rámci esg  na podobné úrovni jako konkurence, nebo to neumí posoudit.</vt:lpstr>
      <vt:lpstr>Více než 7 z 10 firem udává, že současná společenská situace neměla vliv na jejich přístup k esg.</vt:lpstr>
      <vt:lpstr>Prezentace aplikace PowerPoint</vt:lpstr>
      <vt:lpstr>3 ZE 4 FIREM NEVÍ, ŽE OD ROKU 2026 BUDE POVINNÉ VYKAZOVAT ESG REPORT. VĚTŠÍ FIRMY JSOU s tímto faktem OBEZNÁMENY ČASTĚJI.</vt:lpstr>
      <vt:lpstr>FIRMY NEJČASTĚJI PODPORUJÍ KULTURNÍ AKCE A PODÍLEJÍ SE NA ROZVOJI SPORTOVNÍCH ČI ŠKOLSKÝCH AKTIVIT FORMOU SPONZORINGU.</vt:lpstr>
      <vt:lpstr>Téměř tři čtvrtiny firem nebudou řešit něco konkrétního v rámci esg. Ostatní se zaměří na snížení spotřeby energií či vody.</vt:lpstr>
      <vt:lpstr>Prezentace aplikace PowerPoint</vt:lpstr>
      <vt:lpstr>VĚTŠINA FIREM V NÁSLEDUJÍCÍCH 36 MĚSÍCÍCH NEPLÁNUJE aktivně IMPLEMENTOVAT ZMĚNY VYPLÝVAJÍCÍ Z ESG.</vt:lpstr>
      <vt:lpstr>Více než 6 z 10 firem nemají nastaveny cíle související s esg. Ti, kteří mají nastavené cíle, mívají často problémy s jejich měřením.</vt:lpstr>
      <vt:lpstr>Vývoj V ČASE </vt:lpstr>
      <vt:lpstr>Esg A UDRŽITELNOST: HLAVNÍ ZÁVĚRY Z 11/2023</vt:lpstr>
      <vt:lpstr>Vývoj </vt:lpstr>
      <vt:lpstr>INOVACE PRO EFEKTIVITU: HLAVNÍ ZÁVĚRY Z 3/2024</vt:lpstr>
      <vt:lpstr>INOVACE PRO EFEKTIVITU: HLAVNÍ ZÁVĚRY Z 3/2024</vt:lpstr>
      <vt:lpstr>zÁVĚR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nabídek / PROPOSAL TEMPLATE</dc:title>
  <dc:creator>Anna Mudrova</dc:creator>
  <cp:lastModifiedBy>Lunová Elina Valerie</cp:lastModifiedBy>
  <cp:revision>644</cp:revision>
  <dcterms:created xsi:type="dcterms:W3CDTF">2019-07-04T10:58:50Z</dcterms:created>
  <dcterms:modified xsi:type="dcterms:W3CDTF">2024-05-06T15:28:34Z</dcterms:modified>
</cp:coreProperties>
</file>